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5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26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27.xml" ContentType="application/vnd.openxmlformats-officedocument.presentationml.tags+xml"/>
  <Override PartName="/ppt/notesSlides/notesSlide2.xml" ContentType="application/vnd.openxmlformats-officedocument.presentationml.notesSlide+xml"/>
  <Override PartName="/ppt/tags/tag128.xml" ContentType="application/vnd.openxmlformats-officedocument.presentationml.tags+xml"/>
  <Override PartName="/ppt/notesSlides/notesSlide3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11.xml" ContentType="application/vnd.openxmlformats-officedocument.presentationml.notesSl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77" r:id="rId5"/>
    <p:sldMasterId id="2147483793" r:id="rId6"/>
    <p:sldMasterId id="2147483818" r:id="rId7"/>
    <p:sldMasterId id="2147483850" r:id="rId8"/>
  </p:sldMasterIdLst>
  <p:notesMasterIdLst>
    <p:notesMasterId r:id="rId33"/>
  </p:notesMasterIdLst>
  <p:handoutMasterIdLst>
    <p:handoutMasterId r:id="rId34"/>
  </p:handoutMasterIdLst>
  <p:sldIdLst>
    <p:sldId id="2527" r:id="rId9"/>
    <p:sldId id="2722" r:id="rId10"/>
    <p:sldId id="3924" r:id="rId11"/>
    <p:sldId id="2723" r:id="rId12"/>
    <p:sldId id="2755" r:id="rId13"/>
    <p:sldId id="2728" r:id="rId14"/>
    <p:sldId id="2751" r:id="rId15"/>
    <p:sldId id="2754" r:id="rId16"/>
    <p:sldId id="2529" r:id="rId17"/>
    <p:sldId id="2567" r:id="rId18"/>
    <p:sldId id="2757" r:id="rId19"/>
    <p:sldId id="2639" r:id="rId20"/>
    <p:sldId id="2732" r:id="rId21"/>
    <p:sldId id="2733" r:id="rId22"/>
    <p:sldId id="2734" r:id="rId23"/>
    <p:sldId id="2735" r:id="rId24"/>
    <p:sldId id="2736" r:id="rId25"/>
    <p:sldId id="2737" r:id="rId26"/>
    <p:sldId id="3914" r:id="rId27"/>
    <p:sldId id="3915" r:id="rId28"/>
    <p:sldId id="2563" r:id="rId29"/>
    <p:sldId id="2756" r:id="rId30"/>
    <p:sldId id="2620" r:id="rId31"/>
    <p:sldId id="258" r:id="rId32"/>
  </p:sldIdLst>
  <p:sldSz cx="12192000" cy="6858000"/>
  <p:notesSz cx="7315200" cy="9601200"/>
  <p:custDataLst>
    <p:tags r:id="rId3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dja Schäffer" initials="NS" lastIdx="1" clrIdx="0">
    <p:extLst>
      <p:ext uri="{19B8F6BF-5375-455C-9EA6-DF929625EA0E}">
        <p15:presenceInfo xmlns:p15="http://schemas.microsoft.com/office/powerpoint/2012/main" userId="Nadja Schäffer" providerId="None"/>
      </p:ext>
    </p:extLst>
  </p:cmAuthor>
  <p:cmAuthor id="2" name="Kendall, Chris" initials="KC" lastIdx="37" clrIdx="1">
    <p:extLst>
      <p:ext uri="{19B8F6BF-5375-455C-9EA6-DF929625EA0E}">
        <p15:presenceInfo xmlns:p15="http://schemas.microsoft.com/office/powerpoint/2012/main" userId="S::christopher.kendall@envistaco.com::8515e574-6e5a-4765-bdb1-4a2b19e5794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E2E6"/>
    <a:srgbClr val="7AE1BF"/>
    <a:srgbClr val="FFA38B"/>
    <a:srgbClr val="FED880"/>
    <a:srgbClr val="A7D7FF"/>
    <a:srgbClr val="FF3399"/>
    <a:srgbClr val="007398"/>
    <a:srgbClr val="000000"/>
    <a:srgbClr val="E89721"/>
    <a:srgbClr val="CFBA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9621800-C1B7-4BF1-80E2-659A602A09E1}" v="1" dt="2022-05-12T14:53:41.7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582" autoAdjust="0"/>
    <p:restoredTop sz="95889" autoAdjust="0"/>
  </p:normalViewPr>
  <p:slideViewPr>
    <p:cSldViewPr snapToGrid="0" showGuides="1">
      <p:cViewPr varScale="1">
        <p:scale>
          <a:sx n="77" d="100"/>
          <a:sy n="77" d="100"/>
        </p:scale>
        <p:origin x="102" y="5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117" d="100"/>
          <a:sy n="117" d="100"/>
        </p:scale>
        <p:origin x="118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handoutMaster" Target="handoutMasters/handoutMaster1.xml"/><Relationship Id="rId42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commentAuthors" Target="commentAuthor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romenschlager, Julien" userId="9ad418ba-00b1-48b3-95aa-b8e45de5390f" providerId="ADAL" clId="{99621800-C1B7-4BF1-80E2-659A602A09E1}"/>
    <pc:docChg chg="modSld">
      <pc:chgData name="Tromenschlager, Julien" userId="9ad418ba-00b1-48b3-95aa-b8e45de5390f" providerId="ADAL" clId="{99621800-C1B7-4BF1-80E2-659A602A09E1}" dt="2022-05-12T14:53:40.649" v="7" actId="20577"/>
      <pc:docMkLst>
        <pc:docMk/>
      </pc:docMkLst>
      <pc:sldChg chg="modSp mod">
        <pc:chgData name="Tromenschlager, Julien" userId="9ad418ba-00b1-48b3-95aa-b8e45de5390f" providerId="ADAL" clId="{99621800-C1B7-4BF1-80E2-659A602A09E1}" dt="2022-05-12T14:53:40.649" v="7" actId="20577"/>
        <pc:sldMkLst>
          <pc:docMk/>
          <pc:sldMk cId="26655855" sldId="258"/>
        </pc:sldMkLst>
        <pc:spChg chg="mod">
          <ac:chgData name="Tromenschlager, Julien" userId="9ad418ba-00b1-48b3-95aa-b8e45de5390f" providerId="ADAL" clId="{99621800-C1B7-4BF1-80E2-659A602A09E1}" dt="2022-05-12T14:53:40.649" v="7" actId="20577"/>
          <ac:spMkLst>
            <pc:docMk/>
            <pc:sldMk cId="26655855" sldId="258"/>
            <ac:spMk id="3" creationId="{1A385C62-569D-47C1-A987-72B966226034}"/>
          </ac:spMkLst>
        </pc:spChg>
      </pc:sldChg>
      <pc:sldChg chg="modSp mod">
        <pc:chgData name="Tromenschlager, Julien" userId="9ad418ba-00b1-48b3-95aa-b8e45de5390f" providerId="ADAL" clId="{99621800-C1B7-4BF1-80E2-659A602A09E1}" dt="2022-05-12T14:52:03.473" v="5" actId="20577"/>
        <pc:sldMkLst>
          <pc:docMk/>
          <pc:sldMk cId="2168540453" sldId="2527"/>
        </pc:sldMkLst>
        <pc:spChg chg="mod">
          <ac:chgData name="Tromenschlager, Julien" userId="9ad418ba-00b1-48b3-95aa-b8e45de5390f" providerId="ADAL" clId="{99621800-C1B7-4BF1-80E2-659A602A09E1}" dt="2022-05-12T14:52:03.473" v="5" actId="20577"/>
          <ac:spMkLst>
            <pc:docMk/>
            <pc:sldMk cId="2168540453" sldId="2527"/>
            <ac:spMk id="2" creationId="{14E81668-B163-489C-A8FB-B6F7D49FF914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899214071798119"/>
          <c:y val="5.7284816421360692E-2"/>
          <c:w val="0.68914262801833259"/>
          <c:h val="0.8334554302378691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S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0E-4BF3-B9D2-19852D99F71F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3</c:f>
              <c:strCache>
                <c:ptCount val="2"/>
                <c:pt idx="0">
                  <c:v>MimetikOss</c:v>
                </c:pt>
                <c:pt idx="1">
                  <c:v>Maxresorb</c:v>
                </c:pt>
              </c:strCache>
            </c:strRef>
          </c:cat>
          <c:val>
            <c:numRef>
              <c:f>Hoja1!$B$2:$B$3</c:f>
              <c:numCache>
                <c:formatCode>0.00</c:formatCode>
                <c:ptCount val="2"/>
                <c:pt idx="0">
                  <c:v>8.66</c:v>
                </c:pt>
                <c:pt idx="1">
                  <c:v>0.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A0E-4BF3-B9D2-19852D99F7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3687616"/>
        <c:axId val="163676384"/>
      </c:barChart>
      <c:catAx>
        <c:axId val="163687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63676384"/>
        <c:crosses val="autoZero"/>
        <c:auto val="1"/>
        <c:lblAlgn val="ctr"/>
        <c:lblOffset val="100"/>
        <c:noMultiLvlLbl val="0"/>
      </c:catAx>
      <c:valAx>
        <c:axId val="163676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s-ES"/>
                  <a:t>Specific Surface Area (m2/g)</a:t>
                </a:r>
              </a:p>
            </c:rich>
          </c:tx>
          <c:layout>
            <c:manualLayout>
              <c:xMode val="edge"/>
              <c:yMode val="edge"/>
              <c:x val="1.1287104050482267E-2"/>
              <c:y val="6.9846009813057983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63687616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ES" sz="1000"/>
              <a:t>Vertical and horizontal change (%) at 6 months post bone grafting</a:t>
            </a:r>
          </a:p>
        </c:rich>
      </c:tx>
      <c:layout>
        <c:manualLayout>
          <c:xMode val="edge"/>
          <c:yMode val="edge"/>
          <c:x val="0.11066327940976844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11059491251507381"/>
          <c:y val="0.15718196941195425"/>
          <c:w val="0.86180145977151623"/>
          <c:h val="0.611604793369865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yntogai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3</c:f>
              <c:strCache>
                <c:ptCount val="2"/>
                <c:pt idx="0">
                  <c:v>Width variation</c:v>
                </c:pt>
                <c:pt idx="1">
                  <c:v>Height variation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-1.78E-2</c:v>
                </c:pt>
                <c:pt idx="1">
                  <c:v>1.3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0B-4EE2-88F3-CB1A909DC47D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Bio Os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70B-4EE2-88F3-CB1A909DC47D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3</c:f>
              <c:strCache>
                <c:ptCount val="2"/>
                <c:pt idx="0">
                  <c:v>Width variation</c:v>
                </c:pt>
                <c:pt idx="1">
                  <c:v>Height variation</c:v>
                </c:pt>
              </c:strCache>
            </c:strRef>
          </c:cat>
          <c:val>
            <c:numRef>
              <c:f>Hoja1!$C$2:$C$3</c:f>
              <c:numCache>
                <c:formatCode>General</c:formatCode>
                <c:ptCount val="2"/>
                <c:pt idx="0">
                  <c:v>-2.1600000000000001E-2</c:v>
                </c:pt>
                <c:pt idx="1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70B-4EE2-88F3-CB1A909DC4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405948336"/>
        <c:axId val="-1405959760"/>
      </c:barChart>
      <c:catAx>
        <c:axId val="-1405948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-1405959760"/>
        <c:crosses val="autoZero"/>
        <c:auto val="1"/>
        <c:lblAlgn val="ctr"/>
        <c:lblOffset val="100"/>
        <c:noMultiLvlLbl val="0"/>
      </c:catAx>
      <c:valAx>
        <c:axId val="-1405959760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-14059483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2183148553320529"/>
          <c:y val="0.92070382259427419"/>
          <c:w val="0.34298872401065761"/>
          <c:h val="7.182822052700253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ES" sz="1400" dirty="0"/>
              <a:t>Vertical and</a:t>
            </a:r>
            <a:r>
              <a:rPr lang="es-ES" sz="1400" baseline="0" dirty="0"/>
              <a:t> horizontal </a:t>
            </a:r>
            <a:r>
              <a:rPr lang="es-ES" sz="1400" baseline="0" dirty="0" err="1"/>
              <a:t>change</a:t>
            </a:r>
            <a:r>
              <a:rPr lang="es-ES" sz="1400" baseline="0" dirty="0"/>
              <a:t> (%) at 6 </a:t>
            </a:r>
            <a:r>
              <a:rPr lang="es-ES" sz="1400" baseline="0" dirty="0" err="1"/>
              <a:t>months</a:t>
            </a:r>
            <a:r>
              <a:rPr lang="es-ES" sz="1400" baseline="0" dirty="0"/>
              <a:t> post </a:t>
            </a:r>
            <a:r>
              <a:rPr lang="es-ES" sz="1400" baseline="0" dirty="0" err="1"/>
              <a:t>bone</a:t>
            </a:r>
            <a:r>
              <a:rPr lang="es-ES" sz="1400" baseline="0" dirty="0"/>
              <a:t> </a:t>
            </a:r>
            <a:r>
              <a:rPr lang="es-ES" sz="1400" baseline="0" dirty="0" err="1"/>
              <a:t>grafting</a:t>
            </a:r>
            <a:endParaRPr lang="es-ES" sz="1400" dirty="0"/>
          </a:p>
        </c:rich>
      </c:tx>
      <c:layout>
        <c:manualLayout>
          <c:xMode val="edge"/>
          <c:yMode val="edge"/>
          <c:x val="0.11066327940976844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11059491251507381"/>
          <c:y val="0.15718196941195425"/>
          <c:w val="0.86180145977151623"/>
          <c:h val="0.611604793369865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yntogai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3</c:f>
              <c:strCache>
                <c:ptCount val="2"/>
                <c:pt idx="0">
                  <c:v>Width variation</c:v>
                </c:pt>
                <c:pt idx="1">
                  <c:v>Height variation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-1.78E-2</c:v>
                </c:pt>
                <c:pt idx="1">
                  <c:v>1.3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20-4A32-8B61-9C8319CEB5D1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Bio Os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ECEA-4EEB-891C-BA4CDE53633F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3</c:f>
              <c:strCache>
                <c:ptCount val="2"/>
                <c:pt idx="0">
                  <c:v>Width variation</c:v>
                </c:pt>
                <c:pt idx="1">
                  <c:v>Height variation</c:v>
                </c:pt>
              </c:strCache>
            </c:strRef>
          </c:cat>
          <c:val>
            <c:numRef>
              <c:f>Hoja1!$C$2:$C$3</c:f>
              <c:numCache>
                <c:formatCode>General</c:formatCode>
                <c:ptCount val="2"/>
                <c:pt idx="0">
                  <c:v>-2.1600000000000001E-2</c:v>
                </c:pt>
                <c:pt idx="1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20-4A32-8B61-9C8319CEB5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405948336"/>
        <c:axId val="-1405959760"/>
      </c:barChart>
      <c:catAx>
        <c:axId val="-1405948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-1405959760"/>
        <c:crosses val="autoZero"/>
        <c:auto val="1"/>
        <c:lblAlgn val="ctr"/>
        <c:lblOffset val="100"/>
        <c:noMultiLvlLbl val="0"/>
      </c:catAx>
      <c:valAx>
        <c:axId val="-1405959760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-14059483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2183148553320529"/>
          <c:y val="0.92070382259427419"/>
          <c:w val="0.34298872401065761"/>
          <c:h val="7.182822052700253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227718129553056"/>
          <c:y val="5.1264318341744386E-2"/>
          <c:w val="0.83045415422102298"/>
          <c:h val="0.664659920018299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imetikOs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0 - 15</c:v>
                </c:pt>
                <c:pt idx="1">
                  <c:v>16 - 34</c:v>
                </c:pt>
                <c:pt idx="2">
                  <c:v>35+</c:v>
                </c:pt>
              </c:strCache>
            </c:strRef>
          </c:cat>
          <c:val>
            <c:numRef>
              <c:f>Hoja1!$B$2:$B$4</c:f>
              <c:numCache>
                <c:formatCode>General</c:formatCode>
                <c:ptCount val="3"/>
                <c:pt idx="0">
                  <c:v>8.8999999999999996E-2</c:v>
                </c:pt>
                <c:pt idx="1">
                  <c:v>0.20100000000000001</c:v>
                </c:pt>
                <c:pt idx="2">
                  <c:v>0.710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7C-4D0D-8DC1-A76DADBA7B23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Bio Os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0 - 15</c:v>
                </c:pt>
                <c:pt idx="1">
                  <c:v>16 - 34</c:v>
                </c:pt>
                <c:pt idx="2">
                  <c:v>35+</c:v>
                </c:pt>
              </c:strCache>
            </c:strRef>
          </c:cat>
          <c:val>
            <c:numRef>
              <c:f>Hoja1!$C$2:$C$4</c:f>
              <c:numCache>
                <c:formatCode>General</c:formatCode>
                <c:ptCount val="3"/>
                <c:pt idx="0">
                  <c:v>0.14000000000000001</c:v>
                </c:pt>
                <c:pt idx="1">
                  <c:v>0.23200000000000001</c:v>
                </c:pt>
                <c:pt idx="2">
                  <c:v>0.6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47C-4D0D-8DC1-A76DADBA7B2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45"/>
        <c:axId val="2062306608"/>
        <c:axId val="2062299120"/>
      </c:barChart>
      <c:catAx>
        <c:axId val="20623066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s-ES"/>
                  <a:t>Insertion torque (N.cm-1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062299120"/>
        <c:crosses val="autoZero"/>
        <c:auto val="1"/>
        <c:lblAlgn val="ctr"/>
        <c:lblOffset val="100"/>
        <c:noMultiLvlLbl val="0"/>
      </c:catAx>
      <c:valAx>
        <c:axId val="2062299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s-ES"/>
                  <a:t>Percentage of implant</a:t>
                </a:r>
              </a:p>
            </c:rich>
          </c:tx>
          <c:layout>
            <c:manualLayout>
              <c:xMode val="edge"/>
              <c:yMode val="edge"/>
              <c:x val="4.93390413812756E-3"/>
              <c:y val="6.0613838395109025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062306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C0837AF-3164-41B1-BBBF-ECEC1EC372DA}" type="doc">
      <dgm:prSet loTypeId="urn:microsoft.com/office/officeart/2005/8/layout/venn1" loCatId="relationship" qsTypeId="urn:microsoft.com/office/officeart/2005/8/quickstyle/simple3" qsCatId="simple" csTypeId="urn:microsoft.com/office/officeart/2005/8/colors/accent1_2" csCatId="accent1" phldr="1"/>
      <dgm:spPr/>
    </dgm:pt>
    <dgm:pt modelId="{FA0BC77C-E164-4FD9-B81E-8FF3BBDCAE6E}">
      <dgm:prSet phldrT="[Text]" custT="1"/>
      <dgm:spPr/>
      <dgm:t>
        <a:bodyPr/>
        <a:lstStyle/>
        <a:p>
          <a:r>
            <a:rPr lang="fr-CH" sz="1800" b="1" dirty="0" err="1">
              <a:latin typeface="+mj-lt"/>
              <a:cs typeface="Calibri" panose="020F0502020204030204" pitchFamily="34" charset="0"/>
            </a:rPr>
            <a:t>Easy</a:t>
          </a:r>
          <a:endParaRPr lang="en-US" sz="1800" b="1" dirty="0">
            <a:latin typeface="+mj-lt"/>
            <a:cs typeface="Calibri" panose="020F0502020204030204" pitchFamily="34" charset="0"/>
          </a:endParaRPr>
        </a:p>
      </dgm:t>
    </dgm:pt>
    <dgm:pt modelId="{5521B5CC-222F-46CF-A38F-793885883BD6}" type="parTrans" cxnId="{DDC2320F-A384-4914-8CA6-BFDFF635D20F}">
      <dgm:prSet/>
      <dgm:spPr/>
      <dgm:t>
        <a:bodyPr/>
        <a:lstStyle/>
        <a:p>
          <a:endParaRPr lang="en-US" sz="2000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70D3E79-C022-44AE-8CE1-A084815B29A4}" type="sibTrans" cxnId="{DDC2320F-A384-4914-8CA6-BFDFF635D20F}">
      <dgm:prSet/>
      <dgm:spPr/>
      <dgm:t>
        <a:bodyPr/>
        <a:lstStyle/>
        <a:p>
          <a:endParaRPr lang="en-US" sz="2000" b="1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80A24B7-8BF6-4B8A-BDF1-A9B9C17B8099}">
      <dgm:prSet phldrT="[Text]" custT="1"/>
      <dgm:spPr/>
      <dgm:t>
        <a:bodyPr/>
        <a:lstStyle/>
        <a:p>
          <a:r>
            <a:rPr lang="fr-CH" sz="1800" b="1" dirty="0" err="1">
              <a:latin typeface="+mj-lt"/>
              <a:cs typeface="Calibri" panose="020F0502020204030204" pitchFamily="34" charset="0"/>
            </a:rPr>
            <a:t>Fair</a:t>
          </a:r>
          <a:r>
            <a:rPr lang="fr-CH" sz="1800" b="1" dirty="0">
              <a:latin typeface="+mj-lt"/>
              <a:cs typeface="Calibri" panose="020F0502020204030204" pitchFamily="34" charset="0"/>
            </a:rPr>
            <a:t> </a:t>
          </a:r>
          <a:r>
            <a:rPr lang="fr-CH" sz="1800" b="1" dirty="0" err="1">
              <a:latin typeface="+mj-lt"/>
              <a:cs typeface="Calibri" panose="020F0502020204030204" pitchFamily="34" charset="0"/>
            </a:rPr>
            <a:t>price</a:t>
          </a:r>
          <a:endParaRPr lang="en-US" sz="1800" b="1" dirty="0">
            <a:latin typeface="+mj-lt"/>
            <a:cs typeface="Calibri" panose="020F0502020204030204" pitchFamily="34" charset="0"/>
          </a:endParaRPr>
        </a:p>
      </dgm:t>
    </dgm:pt>
    <dgm:pt modelId="{3652D6CB-FA07-42E6-9CB5-6621023F4390}" type="parTrans" cxnId="{699F0BB4-60C8-4757-8225-7A9434574BEF}">
      <dgm:prSet/>
      <dgm:spPr/>
      <dgm:t>
        <a:bodyPr/>
        <a:lstStyle/>
        <a:p>
          <a:endParaRPr lang="en-US" sz="2000"/>
        </a:p>
      </dgm:t>
    </dgm:pt>
    <dgm:pt modelId="{A984CB34-F84C-47F9-895A-B1DA54761E26}" type="sibTrans" cxnId="{699F0BB4-60C8-4757-8225-7A9434574BEF}">
      <dgm:prSet/>
      <dgm:spPr/>
      <dgm:t>
        <a:bodyPr/>
        <a:lstStyle/>
        <a:p>
          <a:endParaRPr lang="en-US" sz="2000"/>
        </a:p>
      </dgm:t>
    </dgm:pt>
    <dgm:pt modelId="{7C534A1F-6183-483B-AAB5-E1488C5FAA15}">
      <dgm:prSet phldrT="[Text]" custT="1"/>
      <dgm:spPr/>
      <dgm:t>
        <a:bodyPr/>
        <a:lstStyle/>
        <a:p>
          <a:r>
            <a:rPr lang="fr-CH" sz="1800" b="1" dirty="0">
              <a:latin typeface="+mj-lt"/>
              <a:cs typeface="Calibri" panose="020F0502020204030204" pitchFamily="34" charset="0"/>
            </a:rPr>
            <a:t>Practice </a:t>
          </a:r>
          <a:r>
            <a:rPr lang="fr-CH" sz="1800" b="1" dirty="0" err="1">
              <a:latin typeface="+mj-lt"/>
              <a:cs typeface="Calibri" panose="020F0502020204030204" pitchFamily="34" charset="0"/>
            </a:rPr>
            <a:t>growth</a:t>
          </a:r>
          <a:endParaRPr lang="en-US" sz="1800" b="1" dirty="0">
            <a:latin typeface="+mj-lt"/>
            <a:cs typeface="Calibri" panose="020F0502020204030204" pitchFamily="34" charset="0"/>
          </a:endParaRPr>
        </a:p>
      </dgm:t>
    </dgm:pt>
    <dgm:pt modelId="{51D3CFD3-DFF4-4A67-A10B-C2CF91D76629}" type="parTrans" cxnId="{2BF8FFC8-CCA8-4420-8B89-768988797482}">
      <dgm:prSet/>
      <dgm:spPr/>
      <dgm:t>
        <a:bodyPr/>
        <a:lstStyle/>
        <a:p>
          <a:endParaRPr lang="en-US" sz="2000"/>
        </a:p>
      </dgm:t>
    </dgm:pt>
    <dgm:pt modelId="{A220B4DB-0236-494E-B47D-B05CF914BDE5}" type="sibTrans" cxnId="{2BF8FFC8-CCA8-4420-8B89-768988797482}">
      <dgm:prSet/>
      <dgm:spPr/>
      <dgm:t>
        <a:bodyPr/>
        <a:lstStyle/>
        <a:p>
          <a:endParaRPr lang="en-US" sz="2000"/>
        </a:p>
      </dgm:t>
    </dgm:pt>
    <dgm:pt modelId="{0C8D568B-BB24-4281-A82E-4EF260388176}">
      <dgm:prSet phldrT="[Text]" custT="1"/>
      <dgm:spPr/>
      <dgm:t>
        <a:bodyPr/>
        <a:lstStyle/>
        <a:p>
          <a:r>
            <a:rPr lang="fr-CH" sz="1800" b="1" dirty="0">
              <a:latin typeface="+mj-lt"/>
              <a:cs typeface="Calibri" panose="020F0502020204030204" pitchFamily="34" charset="0"/>
            </a:rPr>
            <a:t>It </a:t>
          </a:r>
          <a:r>
            <a:rPr lang="fr-CH" sz="1800" b="1" dirty="0" err="1">
              <a:latin typeface="+mj-lt"/>
              <a:cs typeface="Calibri" panose="020F0502020204030204" pitchFamily="34" charset="0"/>
            </a:rPr>
            <a:t>works</a:t>
          </a:r>
          <a:endParaRPr lang="en-US" sz="1800" b="1" dirty="0">
            <a:latin typeface="+mj-lt"/>
            <a:cs typeface="Calibri" panose="020F0502020204030204" pitchFamily="34" charset="0"/>
          </a:endParaRPr>
        </a:p>
      </dgm:t>
    </dgm:pt>
    <dgm:pt modelId="{AB0A56B2-0E88-4E21-8E06-4FB391E65728}" type="sibTrans" cxnId="{9C064D8C-37F2-439C-8999-EE8FAF9ECF1D}">
      <dgm:prSet/>
      <dgm:spPr/>
      <dgm:t>
        <a:bodyPr/>
        <a:lstStyle/>
        <a:p>
          <a:endParaRPr lang="en-US" sz="2000"/>
        </a:p>
      </dgm:t>
    </dgm:pt>
    <dgm:pt modelId="{FE8AE2E3-EE0D-4943-8B80-B725DEAD5779}" type="parTrans" cxnId="{9C064D8C-37F2-439C-8999-EE8FAF9ECF1D}">
      <dgm:prSet/>
      <dgm:spPr/>
      <dgm:t>
        <a:bodyPr/>
        <a:lstStyle/>
        <a:p>
          <a:endParaRPr lang="en-US" sz="2000"/>
        </a:p>
      </dgm:t>
    </dgm:pt>
    <dgm:pt modelId="{2E2E0859-1E55-482C-A64E-2F072E3A1411}" type="pres">
      <dgm:prSet presAssocID="{3C0837AF-3164-41B1-BBBF-ECEC1EC372DA}" presName="compositeShape" presStyleCnt="0">
        <dgm:presLayoutVars>
          <dgm:chMax val="7"/>
          <dgm:dir/>
          <dgm:resizeHandles val="exact"/>
        </dgm:presLayoutVars>
      </dgm:prSet>
      <dgm:spPr/>
    </dgm:pt>
    <dgm:pt modelId="{5F4C4A9A-AF42-4DEE-879D-845E39A9E3E1}" type="pres">
      <dgm:prSet presAssocID="{FA0BC77C-E164-4FD9-B81E-8FF3BBDCAE6E}" presName="circ1" presStyleLbl="vennNode1" presStyleIdx="0" presStyleCnt="4"/>
      <dgm:spPr/>
    </dgm:pt>
    <dgm:pt modelId="{5DA682FB-DD8B-4D03-8A8F-63D08D954AAC}" type="pres">
      <dgm:prSet presAssocID="{FA0BC77C-E164-4FD9-B81E-8FF3BBDCAE6E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E31F1D1C-3E6C-4449-9CC2-F00D4982F124}" type="pres">
      <dgm:prSet presAssocID="{380A24B7-8BF6-4B8A-BDF1-A9B9C17B8099}" presName="circ2" presStyleLbl="vennNode1" presStyleIdx="1" presStyleCnt="4"/>
      <dgm:spPr/>
    </dgm:pt>
    <dgm:pt modelId="{19541006-D831-497D-B9EB-639634866FA6}" type="pres">
      <dgm:prSet presAssocID="{380A24B7-8BF6-4B8A-BDF1-A9B9C17B8099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FFE285EE-9022-4B3C-8174-C9FEB9770D8C}" type="pres">
      <dgm:prSet presAssocID="{7C534A1F-6183-483B-AAB5-E1488C5FAA15}" presName="circ3" presStyleLbl="vennNode1" presStyleIdx="2" presStyleCnt="4"/>
      <dgm:spPr/>
    </dgm:pt>
    <dgm:pt modelId="{A2179F85-4A90-420C-A409-0AC111C19363}" type="pres">
      <dgm:prSet presAssocID="{7C534A1F-6183-483B-AAB5-E1488C5FAA1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B072A77D-8A6E-4877-800D-AB65C0061CBD}" type="pres">
      <dgm:prSet presAssocID="{0C8D568B-BB24-4281-A82E-4EF260388176}" presName="circ4" presStyleLbl="vennNode1" presStyleIdx="3" presStyleCnt="4"/>
      <dgm:spPr/>
    </dgm:pt>
    <dgm:pt modelId="{1B2E2832-198A-472C-8BBC-3A861C193122}" type="pres">
      <dgm:prSet presAssocID="{0C8D568B-BB24-4281-A82E-4EF260388176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DDC2320F-A384-4914-8CA6-BFDFF635D20F}" srcId="{3C0837AF-3164-41B1-BBBF-ECEC1EC372DA}" destId="{FA0BC77C-E164-4FD9-B81E-8FF3BBDCAE6E}" srcOrd="0" destOrd="0" parTransId="{5521B5CC-222F-46CF-A38F-793885883BD6}" sibTransId="{F70D3E79-C022-44AE-8CE1-A084815B29A4}"/>
    <dgm:cxn modelId="{C5A8092E-0103-441B-AE32-758C29A3A2B5}" type="presOf" srcId="{380A24B7-8BF6-4B8A-BDF1-A9B9C17B8099}" destId="{E31F1D1C-3E6C-4449-9CC2-F00D4982F124}" srcOrd="1" destOrd="0" presId="urn:microsoft.com/office/officeart/2005/8/layout/venn1"/>
    <dgm:cxn modelId="{FA950861-206C-4666-9739-7614B80C0EC8}" type="presOf" srcId="{FA0BC77C-E164-4FD9-B81E-8FF3BBDCAE6E}" destId="{5F4C4A9A-AF42-4DEE-879D-845E39A9E3E1}" srcOrd="1" destOrd="0" presId="urn:microsoft.com/office/officeart/2005/8/layout/venn1"/>
    <dgm:cxn modelId="{3C4D6C75-A363-43BA-88E9-75CBFB1439CB}" type="presOf" srcId="{380A24B7-8BF6-4B8A-BDF1-A9B9C17B8099}" destId="{19541006-D831-497D-B9EB-639634866FA6}" srcOrd="0" destOrd="0" presId="urn:microsoft.com/office/officeart/2005/8/layout/venn1"/>
    <dgm:cxn modelId="{9637DD7B-10DD-4680-AAE2-461DA4EB7A17}" type="presOf" srcId="{7C534A1F-6183-483B-AAB5-E1488C5FAA15}" destId="{A2179F85-4A90-420C-A409-0AC111C19363}" srcOrd="0" destOrd="0" presId="urn:microsoft.com/office/officeart/2005/8/layout/venn1"/>
    <dgm:cxn modelId="{F6740985-4699-4BE7-8AB6-0B0B6133526A}" type="presOf" srcId="{FA0BC77C-E164-4FD9-B81E-8FF3BBDCAE6E}" destId="{5DA682FB-DD8B-4D03-8A8F-63D08D954AAC}" srcOrd="0" destOrd="0" presId="urn:microsoft.com/office/officeart/2005/8/layout/venn1"/>
    <dgm:cxn modelId="{9C064D8C-37F2-439C-8999-EE8FAF9ECF1D}" srcId="{3C0837AF-3164-41B1-BBBF-ECEC1EC372DA}" destId="{0C8D568B-BB24-4281-A82E-4EF260388176}" srcOrd="3" destOrd="0" parTransId="{FE8AE2E3-EE0D-4943-8B80-B725DEAD5779}" sibTransId="{AB0A56B2-0E88-4E21-8E06-4FB391E65728}"/>
    <dgm:cxn modelId="{6BAB53AA-E432-4F58-843D-D915B6B588AC}" type="presOf" srcId="{0C8D568B-BB24-4281-A82E-4EF260388176}" destId="{1B2E2832-198A-472C-8BBC-3A861C193122}" srcOrd="0" destOrd="0" presId="urn:microsoft.com/office/officeart/2005/8/layout/venn1"/>
    <dgm:cxn modelId="{699F0BB4-60C8-4757-8225-7A9434574BEF}" srcId="{3C0837AF-3164-41B1-BBBF-ECEC1EC372DA}" destId="{380A24B7-8BF6-4B8A-BDF1-A9B9C17B8099}" srcOrd="1" destOrd="0" parTransId="{3652D6CB-FA07-42E6-9CB5-6621023F4390}" sibTransId="{A984CB34-F84C-47F9-895A-B1DA54761E26}"/>
    <dgm:cxn modelId="{584E3CBD-D601-4AF8-990F-7D916722AB09}" type="presOf" srcId="{3C0837AF-3164-41B1-BBBF-ECEC1EC372DA}" destId="{2E2E0859-1E55-482C-A64E-2F072E3A1411}" srcOrd="0" destOrd="0" presId="urn:microsoft.com/office/officeart/2005/8/layout/venn1"/>
    <dgm:cxn modelId="{2BF8FFC8-CCA8-4420-8B89-768988797482}" srcId="{3C0837AF-3164-41B1-BBBF-ECEC1EC372DA}" destId="{7C534A1F-6183-483B-AAB5-E1488C5FAA15}" srcOrd="2" destOrd="0" parTransId="{51D3CFD3-DFF4-4A67-A10B-C2CF91D76629}" sibTransId="{A220B4DB-0236-494E-B47D-B05CF914BDE5}"/>
    <dgm:cxn modelId="{DCA9F2F2-2EB8-4E05-8A4A-814434F0FD30}" type="presOf" srcId="{0C8D568B-BB24-4281-A82E-4EF260388176}" destId="{B072A77D-8A6E-4877-800D-AB65C0061CBD}" srcOrd="1" destOrd="0" presId="urn:microsoft.com/office/officeart/2005/8/layout/venn1"/>
    <dgm:cxn modelId="{2A74DBF9-73CE-459E-B4A8-C53DF90B262B}" type="presOf" srcId="{7C534A1F-6183-483B-AAB5-E1488C5FAA15}" destId="{FFE285EE-9022-4B3C-8174-C9FEB9770D8C}" srcOrd="1" destOrd="0" presId="urn:microsoft.com/office/officeart/2005/8/layout/venn1"/>
    <dgm:cxn modelId="{2DF0FA06-BAB1-4D02-AB8C-3979C6A72417}" type="presParOf" srcId="{2E2E0859-1E55-482C-A64E-2F072E3A1411}" destId="{5F4C4A9A-AF42-4DEE-879D-845E39A9E3E1}" srcOrd="0" destOrd="0" presId="urn:microsoft.com/office/officeart/2005/8/layout/venn1"/>
    <dgm:cxn modelId="{056B165B-3A28-47E0-AFF2-71768ECCA2DD}" type="presParOf" srcId="{2E2E0859-1E55-482C-A64E-2F072E3A1411}" destId="{5DA682FB-DD8B-4D03-8A8F-63D08D954AAC}" srcOrd="1" destOrd="0" presId="urn:microsoft.com/office/officeart/2005/8/layout/venn1"/>
    <dgm:cxn modelId="{49770570-4105-4EE2-8638-FCFDDC668AD1}" type="presParOf" srcId="{2E2E0859-1E55-482C-A64E-2F072E3A1411}" destId="{E31F1D1C-3E6C-4449-9CC2-F00D4982F124}" srcOrd="2" destOrd="0" presId="urn:microsoft.com/office/officeart/2005/8/layout/venn1"/>
    <dgm:cxn modelId="{C7900F0A-BBE7-4E84-9F6A-A413DA6AF6EE}" type="presParOf" srcId="{2E2E0859-1E55-482C-A64E-2F072E3A1411}" destId="{19541006-D831-497D-B9EB-639634866FA6}" srcOrd="3" destOrd="0" presId="urn:microsoft.com/office/officeart/2005/8/layout/venn1"/>
    <dgm:cxn modelId="{D4D7F687-5F20-4B9A-8317-A2259D5837E1}" type="presParOf" srcId="{2E2E0859-1E55-482C-A64E-2F072E3A1411}" destId="{FFE285EE-9022-4B3C-8174-C9FEB9770D8C}" srcOrd="4" destOrd="0" presId="urn:microsoft.com/office/officeart/2005/8/layout/venn1"/>
    <dgm:cxn modelId="{9970E5F4-2284-450B-8850-7153D8C64241}" type="presParOf" srcId="{2E2E0859-1E55-482C-A64E-2F072E3A1411}" destId="{A2179F85-4A90-420C-A409-0AC111C19363}" srcOrd="5" destOrd="0" presId="urn:microsoft.com/office/officeart/2005/8/layout/venn1"/>
    <dgm:cxn modelId="{B8C82F30-8835-4CAE-8C13-B855E9712D9D}" type="presParOf" srcId="{2E2E0859-1E55-482C-A64E-2F072E3A1411}" destId="{B072A77D-8A6E-4877-800D-AB65C0061CBD}" srcOrd="6" destOrd="0" presId="urn:microsoft.com/office/officeart/2005/8/layout/venn1"/>
    <dgm:cxn modelId="{0625059B-367D-4C70-9306-2D72F7E624A5}" type="presParOf" srcId="{2E2E0859-1E55-482C-A64E-2F072E3A1411}" destId="{1B2E2832-198A-472C-8BBC-3A861C193122}" srcOrd="7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4C4A9A-AF42-4DEE-879D-845E39A9E3E1}">
      <dsp:nvSpPr>
        <dsp:cNvPr id="0" name=""/>
        <dsp:cNvSpPr/>
      </dsp:nvSpPr>
      <dsp:spPr>
        <a:xfrm>
          <a:off x="1540775" y="33250"/>
          <a:ext cx="1729047" cy="1729047"/>
        </a:xfrm>
        <a:prstGeom prst="ellipse">
          <a:avLst/>
        </a:prstGeom>
        <a:gradFill rotWithShape="0">
          <a:gsLst>
            <a:gs pos="0">
              <a:schemeClr val="accent1">
                <a:alpha val="5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alpha val="5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alpha val="5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800" b="1" kern="1200" dirty="0" err="1">
              <a:latin typeface="+mj-lt"/>
              <a:cs typeface="Calibri" panose="020F0502020204030204" pitchFamily="34" charset="0"/>
            </a:rPr>
            <a:t>Easy</a:t>
          </a:r>
          <a:endParaRPr lang="en-US" sz="1800" b="1" kern="1200" dirty="0">
            <a:latin typeface="+mj-lt"/>
            <a:cs typeface="Calibri" panose="020F0502020204030204" pitchFamily="34" charset="0"/>
          </a:endParaRPr>
        </a:p>
      </dsp:txBody>
      <dsp:txXfrm>
        <a:off x="1740280" y="266007"/>
        <a:ext cx="1330036" cy="548640"/>
      </dsp:txXfrm>
    </dsp:sp>
    <dsp:sp modelId="{E31F1D1C-3E6C-4449-9CC2-F00D4982F124}">
      <dsp:nvSpPr>
        <dsp:cNvPr id="0" name=""/>
        <dsp:cNvSpPr/>
      </dsp:nvSpPr>
      <dsp:spPr>
        <a:xfrm>
          <a:off x="2305546" y="798021"/>
          <a:ext cx="1729047" cy="1729047"/>
        </a:xfrm>
        <a:prstGeom prst="ellipse">
          <a:avLst/>
        </a:prstGeom>
        <a:gradFill rotWithShape="0">
          <a:gsLst>
            <a:gs pos="0">
              <a:schemeClr val="accent1">
                <a:alpha val="5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alpha val="5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alpha val="5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800" b="1" kern="1200" dirty="0" err="1">
              <a:latin typeface="+mj-lt"/>
              <a:cs typeface="Calibri" panose="020F0502020204030204" pitchFamily="34" charset="0"/>
            </a:rPr>
            <a:t>Fair</a:t>
          </a:r>
          <a:r>
            <a:rPr lang="fr-CH" sz="1800" b="1" kern="1200" dirty="0">
              <a:latin typeface="+mj-lt"/>
              <a:cs typeface="Calibri" panose="020F0502020204030204" pitchFamily="34" charset="0"/>
            </a:rPr>
            <a:t> </a:t>
          </a:r>
          <a:r>
            <a:rPr lang="fr-CH" sz="1800" b="1" kern="1200" dirty="0" err="1">
              <a:latin typeface="+mj-lt"/>
              <a:cs typeface="Calibri" panose="020F0502020204030204" pitchFamily="34" charset="0"/>
            </a:rPr>
            <a:t>price</a:t>
          </a:r>
          <a:endParaRPr lang="en-US" sz="1800" b="1" kern="1200" dirty="0">
            <a:latin typeface="+mj-lt"/>
            <a:cs typeface="Calibri" panose="020F0502020204030204" pitchFamily="34" charset="0"/>
          </a:endParaRPr>
        </a:p>
      </dsp:txBody>
      <dsp:txXfrm>
        <a:off x="3236571" y="997527"/>
        <a:ext cx="665018" cy="1330036"/>
      </dsp:txXfrm>
    </dsp:sp>
    <dsp:sp modelId="{FFE285EE-9022-4B3C-8174-C9FEB9770D8C}">
      <dsp:nvSpPr>
        <dsp:cNvPr id="0" name=""/>
        <dsp:cNvSpPr/>
      </dsp:nvSpPr>
      <dsp:spPr>
        <a:xfrm>
          <a:off x="1540775" y="1562792"/>
          <a:ext cx="1729047" cy="1729047"/>
        </a:xfrm>
        <a:prstGeom prst="ellipse">
          <a:avLst/>
        </a:prstGeom>
        <a:gradFill rotWithShape="0">
          <a:gsLst>
            <a:gs pos="0">
              <a:schemeClr val="accent1">
                <a:alpha val="5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alpha val="5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alpha val="5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800" b="1" kern="1200" dirty="0">
              <a:latin typeface="+mj-lt"/>
              <a:cs typeface="Calibri" panose="020F0502020204030204" pitchFamily="34" charset="0"/>
            </a:rPr>
            <a:t>Practice </a:t>
          </a:r>
          <a:r>
            <a:rPr lang="fr-CH" sz="1800" b="1" kern="1200" dirty="0" err="1">
              <a:latin typeface="+mj-lt"/>
              <a:cs typeface="Calibri" panose="020F0502020204030204" pitchFamily="34" charset="0"/>
            </a:rPr>
            <a:t>growth</a:t>
          </a:r>
          <a:endParaRPr lang="en-US" sz="1800" b="1" kern="1200" dirty="0">
            <a:latin typeface="+mj-lt"/>
            <a:cs typeface="Calibri" panose="020F0502020204030204" pitchFamily="34" charset="0"/>
          </a:endParaRPr>
        </a:p>
      </dsp:txBody>
      <dsp:txXfrm>
        <a:off x="1740280" y="2510443"/>
        <a:ext cx="1330036" cy="548640"/>
      </dsp:txXfrm>
    </dsp:sp>
    <dsp:sp modelId="{B072A77D-8A6E-4877-800D-AB65C0061CBD}">
      <dsp:nvSpPr>
        <dsp:cNvPr id="0" name=""/>
        <dsp:cNvSpPr/>
      </dsp:nvSpPr>
      <dsp:spPr>
        <a:xfrm>
          <a:off x="776004" y="798021"/>
          <a:ext cx="1729047" cy="1729047"/>
        </a:xfrm>
        <a:prstGeom prst="ellipse">
          <a:avLst/>
        </a:prstGeom>
        <a:gradFill rotWithShape="0">
          <a:gsLst>
            <a:gs pos="0">
              <a:schemeClr val="accent1">
                <a:alpha val="5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alpha val="5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alpha val="5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800" b="1" kern="1200" dirty="0">
              <a:latin typeface="+mj-lt"/>
              <a:cs typeface="Calibri" panose="020F0502020204030204" pitchFamily="34" charset="0"/>
            </a:rPr>
            <a:t>It </a:t>
          </a:r>
          <a:r>
            <a:rPr lang="fr-CH" sz="1800" b="1" kern="1200" dirty="0" err="1">
              <a:latin typeface="+mj-lt"/>
              <a:cs typeface="Calibri" panose="020F0502020204030204" pitchFamily="34" charset="0"/>
            </a:rPr>
            <a:t>works</a:t>
          </a:r>
          <a:endParaRPr lang="en-US" sz="1800" b="1" kern="1200" dirty="0">
            <a:latin typeface="+mj-lt"/>
            <a:cs typeface="Calibri" panose="020F0502020204030204" pitchFamily="34" charset="0"/>
          </a:endParaRPr>
        </a:p>
      </dsp:txBody>
      <dsp:txXfrm>
        <a:off x="909008" y="997527"/>
        <a:ext cx="665018" cy="133003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19E0A91-41BB-4851-AE6C-16903B76021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C454D53-32CA-4B34-A05F-67B6E32957A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E7914F0-6D72-404F-B47B-9D88B0494081}" type="datetimeFigureOut">
              <a:rPr lang="de-DE" smtClean="0"/>
              <a:t>12.05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AAC8398-A2B3-4D54-BC35-0E80DE4D700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2DAB587-FA44-4336-B11E-83E5705ED26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80B32210-F3C3-4D44-8D5B-288AAEFAE10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52326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FC26B25D-0D93-4698-BC20-07F10F781801}" type="datetimeFigureOut">
              <a:rPr lang="de-DE" smtClean="0"/>
              <a:t>12.05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96CE5A7E-662E-4092-92D4-FEFF268D9E3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25657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cbi.nlm.nih.gov/pmc/articles/PMC7494467/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noProof="0" dirty="0" err="1"/>
              <a:t>Creos</a:t>
            </a:r>
            <a:r>
              <a:rPr lang="en-US" noProof="0" dirty="0"/>
              <a:t> portfolio is split in four categories:</a:t>
            </a:r>
          </a:p>
          <a:p>
            <a:pPr marL="664546" lvl="1" indent="-181240">
              <a:buFont typeface="Arial" panose="020B0604020202020204" pitchFamily="34" charset="0"/>
              <a:buChar char="•"/>
            </a:pPr>
            <a:r>
              <a:rPr lang="en-US" noProof="0" dirty="0"/>
              <a:t>Membranes : with </a:t>
            </a:r>
            <a:r>
              <a:rPr lang="en-US" noProof="0" dirty="0" err="1"/>
              <a:t>creos</a:t>
            </a:r>
            <a:r>
              <a:rPr lang="en-US" noProof="0" dirty="0"/>
              <a:t> </a:t>
            </a:r>
            <a:r>
              <a:rPr lang="en-US" noProof="0" dirty="0" err="1"/>
              <a:t>xenoprotect</a:t>
            </a:r>
            <a:r>
              <a:rPr lang="en-US" noProof="0" dirty="0"/>
              <a:t> and </a:t>
            </a:r>
            <a:r>
              <a:rPr lang="en-US" noProof="0" dirty="0" err="1"/>
              <a:t>allo.protect</a:t>
            </a:r>
            <a:r>
              <a:rPr lang="en-US" noProof="0" dirty="0"/>
              <a:t>.</a:t>
            </a:r>
          </a:p>
          <a:p>
            <a:pPr marL="664546" lvl="1" indent="-181240">
              <a:buFont typeface="Arial" panose="020B0604020202020204" pitchFamily="34" charset="0"/>
              <a:buChar char="•"/>
            </a:pPr>
            <a:r>
              <a:rPr lang="en-US" noProof="0" dirty="0"/>
              <a:t>Collagen Matrix: with </a:t>
            </a:r>
            <a:r>
              <a:rPr lang="en-US" noProof="0" dirty="0" err="1"/>
              <a:t>creos</a:t>
            </a:r>
            <a:r>
              <a:rPr lang="en-US" noProof="0" dirty="0"/>
              <a:t> </a:t>
            </a:r>
            <a:r>
              <a:rPr lang="en-US" noProof="0" dirty="0" err="1"/>
              <a:t>mucogain</a:t>
            </a:r>
            <a:r>
              <a:rPr lang="en-US" noProof="0" dirty="0"/>
              <a:t>.</a:t>
            </a:r>
          </a:p>
          <a:p>
            <a:pPr marL="664546" lvl="1" indent="-181240">
              <a:buFont typeface="Arial" panose="020B0604020202020204" pitchFamily="34" charset="0"/>
              <a:buChar char="•"/>
            </a:pPr>
            <a:r>
              <a:rPr lang="en-US" noProof="0" dirty="0"/>
              <a:t>Wound dressings: </a:t>
            </a:r>
            <a:r>
              <a:rPr lang="en-US" noProof="0" dirty="0" err="1"/>
              <a:t>xenoplug</a:t>
            </a:r>
            <a:r>
              <a:rPr lang="en-US" noProof="0" dirty="0"/>
              <a:t>, </a:t>
            </a:r>
            <a:r>
              <a:rPr lang="en-US" noProof="0" dirty="0" err="1"/>
              <a:t>xenocote</a:t>
            </a:r>
            <a:r>
              <a:rPr lang="en-US" noProof="0" dirty="0"/>
              <a:t>, </a:t>
            </a:r>
            <a:r>
              <a:rPr lang="en-US" noProof="0" dirty="0" err="1"/>
              <a:t>xenotape</a:t>
            </a:r>
            <a:r>
              <a:rPr lang="en-US" noProof="0" dirty="0"/>
              <a:t>. Those products are sold in USA and CA only, for the time being.</a:t>
            </a:r>
          </a:p>
          <a:p>
            <a:pPr marL="664546" lvl="1" indent="-181240">
              <a:buFont typeface="Arial" panose="020B0604020202020204" pitchFamily="34" charset="0"/>
              <a:buChar char="•"/>
            </a:pPr>
            <a:r>
              <a:rPr lang="en-US" noProof="0" dirty="0"/>
              <a:t>Bone graft substitutes: with </a:t>
            </a:r>
            <a:r>
              <a:rPr lang="en-US" noProof="0" dirty="0" err="1"/>
              <a:t>creos</a:t>
            </a:r>
            <a:r>
              <a:rPr lang="en-US" noProof="0" dirty="0"/>
              <a:t> </a:t>
            </a:r>
            <a:r>
              <a:rPr lang="en-US" noProof="0" dirty="0" err="1"/>
              <a:t>xenogain</a:t>
            </a:r>
            <a:r>
              <a:rPr lang="en-US" noProof="0" dirty="0"/>
              <a:t> and </a:t>
            </a:r>
            <a:r>
              <a:rPr lang="en-US" noProof="0" dirty="0" err="1"/>
              <a:t>creos</a:t>
            </a:r>
            <a:r>
              <a:rPr lang="en-US" noProof="0" dirty="0"/>
              <a:t> </a:t>
            </a:r>
            <a:r>
              <a:rPr lang="en-US" noProof="0" dirty="0" err="1"/>
              <a:t>allo.gain</a:t>
            </a:r>
            <a:r>
              <a:rPr lang="en-US" noProof="0" dirty="0"/>
              <a:t>.</a:t>
            </a:r>
          </a:p>
          <a:p>
            <a:pPr marL="1147852" lvl="2" indent="-181240">
              <a:buFont typeface="Arial" panose="020B0604020202020204" pitchFamily="34" charset="0"/>
              <a:buChar char="•"/>
            </a:pPr>
            <a:r>
              <a:rPr lang="en-US" noProof="0" dirty="0"/>
              <a:t>Difference between </a:t>
            </a:r>
            <a:r>
              <a:rPr lang="en-US" noProof="0" dirty="0" err="1"/>
              <a:t>xenogain</a:t>
            </a:r>
            <a:r>
              <a:rPr lang="en-US" noProof="0" dirty="0"/>
              <a:t> and </a:t>
            </a:r>
            <a:r>
              <a:rPr lang="en-US" noProof="0" dirty="0" err="1"/>
              <a:t>allogain</a:t>
            </a:r>
            <a:r>
              <a:rPr lang="en-US" noProof="0" dirty="0"/>
              <a:t> is that </a:t>
            </a:r>
            <a:r>
              <a:rPr lang="en-US" noProof="0" dirty="0" err="1"/>
              <a:t>xenogain</a:t>
            </a:r>
            <a:r>
              <a:rPr lang="en-US" noProof="0" dirty="0"/>
              <a:t> is from a different species (bovine), while </a:t>
            </a:r>
            <a:r>
              <a:rPr lang="en-US" noProof="0" dirty="0" err="1"/>
              <a:t>allogain</a:t>
            </a:r>
            <a:r>
              <a:rPr lang="en-US" noProof="0" dirty="0"/>
              <a:t> originates from </a:t>
            </a:r>
            <a:r>
              <a:rPr lang="en-US" sz="1300" dirty="0">
                <a:latin typeface="Arial" panose="020B0604020202020204" pitchFamily="34" charset="0"/>
              </a:rPr>
              <a:t>humans.</a:t>
            </a:r>
            <a:endParaRPr lang="en-US" noProof="0" dirty="0"/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noProof="0" dirty="0"/>
              <a:t>Today’s presentation is about </a:t>
            </a:r>
            <a:r>
              <a:rPr lang="en-US" noProof="0" dirty="0" err="1"/>
              <a:t>creos</a:t>
            </a:r>
            <a:r>
              <a:rPr lang="en-US" noProof="0" dirty="0"/>
              <a:t> </a:t>
            </a:r>
            <a:r>
              <a:rPr lang="en-US" noProof="0" dirty="0" err="1"/>
              <a:t>xenogain</a:t>
            </a:r>
            <a:r>
              <a:rPr lang="en-US" noProof="0" dirty="0"/>
              <a:t>, one of our bone graft substitute.</a:t>
            </a:r>
          </a:p>
        </p:txBody>
      </p:sp>
    </p:spTree>
    <p:extLst>
      <p:ext uri="{BB962C8B-B14F-4D97-AF65-F5344CB8AC3E}">
        <p14:creationId xmlns:p14="http://schemas.microsoft.com/office/powerpoint/2010/main" val="5446625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3804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Implant Stability Quotient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Cambria" panose="02040503050406030204" pitchFamily="18" charset="0"/>
              </a:rPr>
              <a:t>Implant stability quotients (ISQ values) are obtained in dental clinical practice on a non-invasive basis by resonance frequency measurement rapidly after surgical placement of implants. The ISQ-values are used as indicator for mechanical implant stability, and are believed to have predictive power for clinical outcome.</a:t>
            </a:r>
            <a:endParaRPr lang="en-US" b="1" i="0" dirty="0">
              <a:solidFill>
                <a:srgbClr val="212121"/>
              </a:solidFill>
              <a:effectLst/>
              <a:latin typeface="Cambria" panose="02040503050406030204" pitchFamily="18" charset="0"/>
            </a:endParaRPr>
          </a:p>
          <a:p>
            <a:r>
              <a:rPr lang="en-US" dirty="0">
                <a:hlinkClick r:id="rId3"/>
              </a:rPr>
              <a:t>The clinical significance of implant stability quotient (ISQ) measurements: A literature review - PMC (nih.gov)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 err="1"/>
              <a:t>Visita</a:t>
            </a:r>
            <a:r>
              <a:rPr lang="en-US" dirty="0"/>
              <a:t> 6 para </a:t>
            </a:r>
            <a:r>
              <a:rPr lang="en-US" dirty="0" err="1"/>
              <a:t>fumadores</a:t>
            </a:r>
            <a:endParaRPr lang="en-US" dirty="0"/>
          </a:p>
          <a:p>
            <a:r>
              <a:rPr lang="en-US" dirty="0"/>
              <a:t>Cover</a:t>
            </a:r>
            <a:r>
              <a:rPr lang="en-US" baseline="0" dirty="0"/>
              <a:t> of the crew</a:t>
            </a:r>
          </a:p>
          <a:p>
            <a:r>
              <a:rPr lang="en-US" baseline="0" dirty="0"/>
              <a:t>Visit 6 healing abutment  for smokers</a:t>
            </a:r>
          </a:p>
          <a:p>
            <a:r>
              <a:rPr lang="en-US" baseline="0" dirty="0"/>
              <a:t>Visit 4&amp;5 healing abutment for non smokers</a:t>
            </a:r>
          </a:p>
          <a:p>
            <a:r>
              <a:rPr lang="en-US" baseline="0" dirty="0" err="1"/>
              <a:t>Vist</a:t>
            </a:r>
            <a:r>
              <a:rPr lang="en-US" baseline="0" dirty="0"/>
              <a:t> 7-9 1 month for heal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612">
              <a:defRPr/>
            </a:pPr>
            <a:fld id="{96CE5A7E-662E-4092-92D4-FEFF268D9E3E}" type="slidenum">
              <a:rPr lang="de-DE">
                <a:solidFill>
                  <a:prstClr val="black"/>
                </a:solidFill>
                <a:latin typeface="Calibri"/>
              </a:rPr>
              <a:pPr defTabSz="966612">
                <a:defRPr/>
              </a:pPr>
              <a:t>19</a:t>
            </a:fld>
            <a:endParaRPr lang="de-DE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09958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ny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negative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lue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ans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at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imension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creased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(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oss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f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eight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r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dth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), and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ny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positive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lue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at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imension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creased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</a:t>
            </a:r>
          </a:p>
          <a:p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"ideal alveolar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eservation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"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ould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ave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0%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f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hange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(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tability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in </a:t>
            </a:r>
            <a:r>
              <a:rPr lang="de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olume</a:t>
            </a:r>
            <a:r>
              <a:rPr lang="de-CH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).</a:t>
            </a:r>
          </a:p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E5A7E-662E-4092-92D4-FEFF268D9E3E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23584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noProof="0" dirty="0"/>
              <a:t>Creos </a:t>
            </a:r>
            <a:r>
              <a:rPr lang="en-US" noProof="0" dirty="0" err="1"/>
              <a:t>syntogain</a:t>
            </a:r>
            <a:r>
              <a:rPr lang="en-US" noProof="0" dirty="0"/>
              <a:t> is used when you have a deficit of bone, meaning when there is no sufficient bone to insert a stable dental implant.</a:t>
            </a:r>
          </a:p>
          <a:p>
            <a:pPr marL="181240" indent="-181240" defTabSz="966612">
              <a:buFont typeface="Arial" panose="020B0604020202020204" pitchFamily="34" charset="0"/>
              <a:buChar char="•"/>
              <a:defRPr/>
            </a:pPr>
            <a:r>
              <a:rPr lang="en-US" noProof="0" dirty="0"/>
              <a:t>The clinical indication is named « Guided Bone Regeneration » (GBR). 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noProof="0" dirty="0"/>
              <a:t>It is important here to understand that bone graft is really often necessary for implant placement: 40-60% of all implant treatments need biomaterials.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endParaRPr lang="en-US" noProof="0" dirty="0"/>
          </a:p>
          <a:p>
            <a:pPr marL="181240" indent="-181240">
              <a:buFont typeface="Arial" panose="020B0604020202020204" pitchFamily="34" charset="0"/>
              <a:buChar char="•"/>
            </a:pPr>
            <a:endParaRPr lang="en-US" noProof="0" dirty="0"/>
          </a:p>
          <a:p>
            <a:pPr marL="181240" indent="-181240">
              <a:buFont typeface="Arial" panose="020B0604020202020204" pitchFamily="34" charset="0"/>
              <a:buChar char="•"/>
            </a:pPr>
            <a:endParaRPr lang="en-US" noProof="0" dirty="0"/>
          </a:p>
          <a:p>
            <a:pPr algn="l">
              <a:spcAft>
                <a:spcPts val="800"/>
              </a:spcAft>
            </a:pPr>
            <a:r>
              <a:rPr lang="en-US" sz="1200" b="0" i="0" u="none" strike="noStrike" baseline="0" dirty="0">
                <a:latin typeface="LinotypeUnivers-340ExLight"/>
              </a:rPr>
              <a:t>IFU </a:t>
            </a:r>
            <a:r>
              <a:rPr lang="en-US" sz="1200" b="0" i="0" u="none" strike="noStrike" baseline="0" dirty="0" err="1">
                <a:latin typeface="LinotypeUnivers-340ExLight"/>
              </a:rPr>
              <a:t>syntogain</a:t>
            </a:r>
            <a:r>
              <a:rPr lang="en-US" sz="1200" b="0" i="0" u="none" strike="noStrike" baseline="0" dirty="0">
                <a:latin typeface="LinotypeUnivers-340ExLight"/>
              </a:rPr>
              <a:t>:</a:t>
            </a:r>
          </a:p>
          <a:p>
            <a:pPr marL="285750" indent="-285750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b="0" i="0" u="none" strike="noStrike" baseline="0" dirty="0">
                <a:latin typeface="LinotypeUnivers-340ExLight"/>
              </a:rPr>
              <a:t>Augmentation or reconstruction treatment of </a:t>
            </a:r>
            <a:r>
              <a:rPr lang="de-CH" sz="1200" b="0" i="0" u="none" strike="noStrike" baseline="0" dirty="0" err="1">
                <a:latin typeface="LinotypeUnivers-340ExLight"/>
              </a:rPr>
              <a:t>the</a:t>
            </a:r>
            <a:r>
              <a:rPr lang="de-CH" sz="1200" b="0" i="0" u="none" strike="noStrike" baseline="0" dirty="0">
                <a:latin typeface="LinotypeUnivers-340ExLight"/>
              </a:rPr>
              <a:t> alveolar </a:t>
            </a:r>
            <a:r>
              <a:rPr lang="de-CH" sz="1200" b="0" i="0" u="none" strike="noStrike" baseline="0" dirty="0" err="1">
                <a:latin typeface="LinotypeUnivers-340ExLight"/>
              </a:rPr>
              <a:t>ridge</a:t>
            </a:r>
            <a:r>
              <a:rPr lang="de-CH" sz="1200" b="0" i="0" u="none" strike="noStrike" baseline="0" dirty="0">
                <a:latin typeface="LinotypeUnivers-340ExLight"/>
              </a:rPr>
              <a:t>.</a:t>
            </a:r>
          </a:p>
          <a:p>
            <a:pPr marL="285750" indent="-285750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b="0" i="0" u="none" strike="noStrike" baseline="0" dirty="0">
                <a:latin typeface="LinotypeUnivers-340ExLight"/>
              </a:rPr>
              <a:t>Filling of </a:t>
            </a:r>
            <a:r>
              <a:rPr lang="en-US" sz="1200" b="0" i="0" u="none" strike="noStrike" baseline="0" dirty="0" err="1">
                <a:latin typeface="LinotypeUnivers-340ExLight"/>
              </a:rPr>
              <a:t>infrabony</a:t>
            </a:r>
            <a:r>
              <a:rPr lang="en-US" sz="1200" b="0" i="0" u="none" strike="noStrike" baseline="0" dirty="0">
                <a:latin typeface="LinotypeUnivers-340ExLight"/>
              </a:rPr>
              <a:t> periodontal defects.</a:t>
            </a:r>
          </a:p>
          <a:p>
            <a:pPr marL="285750" indent="-285750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b="0" i="0" u="none" strike="noStrike" baseline="0" dirty="0">
                <a:latin typeface="LinotypeUnivers-340ExLight"/>
              </a:rPr>
              <a:t>Filling of defects after root resection, apicoectomy </a:t>
            </a:r>
            <a:r>
              <a:rPr lang="de-CH" sz="1200" b="0" i="0" u="none" strike="noStrike" baseline="0" dirty="0">
                <a:latin typeface="LinotypeUnivers-340ExLight"/>
              </a:rPr>
              <a:t>and </a:t>
            </a:r>
            <a:r>
              <a:rPr lang="de-CH" sz="1200" b="0" i="0" u="none" strike="noStrike" baseline="0" dirty="0" err="1">
                <a:latin typeface="LinotypeUnivers-340ExLight"/>
              </a:rPr>
              <a:t>cystectomy</a:t>
            </a:r>
            <a:r>
              <a:rPr lang="de-CH" sz="1200" b="0" i="0" u="none" strike="noStrike" baseline="0" dirty="0">
                <a:latin typeface="LinotypeUnivers-340ExLight"/>
              </a:rPr>
              <a:t>.</a:t>
            </a:r>
          </a:p>
          <a:p>
            <a:pPr marL="285750" indent="-285750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b="0" i="0" u="none" strike="noStrike" baseline="0" dirty="0">
                <a:latin typeface="LinotypeUnivers-340ExLight"/>
              </a:rPr>
              <a:t>Filling of extraction sockets to enhance preservation </a:t>
            </a:r>
            <a:r>
              <a:rPr lang="de-CH" sz="1200" b="0" i="0" u="none" strike="noStrike" baseline="0" dirty="0" err="1">
                <a:latin typeface="LinotypeUnivers-340ExLight"/>
              </a:rPr>
              <a:t>of</a:t>
            </a:r>
            <a:r>
              <a:rPr lang="de-CH" sz="1200" b="0" i="0" u="none" strike="noStrike" baseline="0" dirty="0">
                <a:latin typeface="LinotypeUnivers-340ExLight"/>
              </a:rPr>
              <a:t> </a:t>
            </a:r>
            <a:r>
              <a:rPr lang="de-CH" sz="1200" b="0" i="0" u="none" strike="noStrike" baseline="0" dirty="0" err="1">
                <a:latin typeface="LinotypeUnivers-340ExLight"/>
              </a:rPr>
              <a:t>the</a:t>
            </a:r>
            <a:r>
              <a:rPr lang="de-CH" sz="1200" b="0" i="0" u="none" strike="noStrike" baseline="0" dirty="0">
                <a:latin typeface="LinotypeUnivers-340ExLight"/>
              </a:rPr>
              <a:t> alveolar </a:t>
            </a:r>
            <a:r>
              <a:rPr lang="de-CH" sz="1200" b="0" i="0" u="none" strike="noStrike" baseline="0" dirty="0" err="1">
                <a:latin typeface="LinotypeUnivers-340ExLight"/>
              </a:rPr>
              <a:t>ridge</a:t>
            </a:r>
            <a:r>
              <a:rPr lang="de-CH" sz="1200" b="0" i="0" u="none" strike="noStrike" baseline="0" dirty="0">
                <a:latin typeface="LinotypeUnivers-340ExLight"/>
              </a:rPr>
              <a:t>.</a:t>
            </a:r>
          </a:p>
          <a:p>
            <a:pPr marL="285750" indent="-285750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b="0" i="0" u="none" strike="noStrike" baseline="0" dirty="0">
                <a:latin typeface="LinotypeUnivers-340ExLight"/>
              </a:rPr>
              <a:t>Elevation of periodontal defects in conjunction with products intended for Guided Tissue Regeneration (GTR) and Guided Bone Regeneration </a:t>
            </a:r>
            <a:r>
              <a:rPr lang="de-CH" sz="1200" b="0" i="0" u="none" strike="noStrike" baseline="0" dirty="0">
                <a:latin typeface="LinotypeUnivers-340ExLight"/>
              </a:rPr>
              <a:t>(GBR).</a:t>
            </a:r>
          </a:p>
          <a:p>
            <a:pPr marL="285750" indent="-285750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b="0" i="0" u="none" strike="noStrike" baseline="0" dirty="0">
                <a:latin typeface="LinotypeUnivers-340ExLight"/>
              </a:rPr>
              <a:t>Filling of peri-implant defects in conjunction with products intended for Guided Bone </a:t>
            </a:r>
            <a:r>
              <a:rPr lang="de-CH" sz="1200" b="0" i="0" u="none" strike="noStrike" baseline="0" dirty="0">
                <a:latin typeface="LinotypeUnivers-340ExLight"/>
              </a:rPr>
              <a:t>Regeneration (GBR).</a:t>
            </a:r>
          </a:p>
          <a:p>
            <a:pPr marL="285750" indent="-285750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200" b="0" i="0" u="none" strike="noStrike" baseline="0" dirty="0">
                <a:latin typeface="LinotypeUnivers-340ExLight"/>
              </a:rPr>
              <a:t>creos™ </a:t>
            </a:r>
            <a:r>
              <a:rPr lang="en-US" sz="1200" b="0" i="0" u="none" strike="noStrike" baseline="0" dirty="0" err="1">
                <a:latin typeface="LinotypeUnivers-340ExLight"/>
              </a:rPr>
              <a:t>syntogain</a:t>
            </a:r>
            <a:r>
              <a:rPr lang="en-US" sz="1200" b="0" i="0" u="none" strike="noStrike" baseline="0" dirty="0">
                <a:latin typeface="LinotypeUnivers-340ExLight"/>
              </a:rPr>
              <a:t> is intended to be placed in bony voids or gaps that do not alter the stability </a:t>
            </a:r>
            <a:r>
              <a:rPr lang="de-CH" sz="1200" b="0" i="0" u="none" strike="noStrike" baseline="0" dirty="0" err="1">
                <a:latin typeface="LinotypeUnivers-340ExLight"/>
              </a:rPr>
              <a:t>of</a:t>
            </a:r>
            <a:r>
              <a:rPr lang="de-CH" sz="1200" b="0" i="0" u="none" strike="noStrike" baseline="0" dirty="0">
                <a:latin typeface="LinotypeUnivers-340ExLight"/>
              </a:rPr>
              <a:t> </a:t>
            </a:r>
            <a:r>
              <a:rPr lang="de-CH" sz="1200" b="0" i="0" u="none" strike="noStrike" baseline="0" dirty="0" err="1">
                <a:latin typeface="LinotypeUnivers-340ExLight"/>
              </a:rPr>
              <a:t>the</a:t>
            </a:r>
            <a:r>
              <a:rPr lang="de-CH" sz="1200" b="0" i="0" u="none" strike="noStrike" baseline="0" dirty="0">
                <a:latin typeface="LinotypeUnivers-340ExLight"/>
              </a:rPr>
              <a:t> </a:t>
            </a:r>
            <a:r>
              <a:rPr lang="de-CH" sz="1200" b="0" i="0" u="none" strike="noStrike" baseline="0" dirty="0" err="1">
                <a:latin typeface="LinotypeUnivers-340ExLight"/>
              </a:rPr>
              <a:t>bony</a:t>
            </a:r>
            <a:r>
              <a:rPr lang="de-CH" sz="1200" b="0" i="0" u="none" strike="noStrike" baseline="0" dirty="0">
                <a:latin typeface="LinotypeUnivers-340ExLight"/>
              </a:rPr>
              <a:t> </a:t>
            </a:r>
            <a:r>
              <a:rPr lang="de-CH" sz="1200" b="0" i="0" u="none" strike="noStrike" baseline="0" dirty="0" err="1">
                <a:latin typeface="LinotypeUnivers-340ExLight"/>
              </a:rPr>
              <a:t>structure</a:t>
            </a:r>
            <a:r>
              <a:rPr lang="de-CH" sz="1200" b="0" i="0" u="none" strike="noStrike" baseline="0" dirty="0">
                <a:latin typeface="LinotypeUnivers-340ExLight"/>
              </a:rPr>
              <a:t>.</a:t>
            </a:r>
            <a:endParaRPr lang="de-CH" sz="1200" dirty="0"/>
          </a:p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E5A7E-662E-4092-92D4-FEFF268D9E3E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43311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644072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4836095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sz="1300" dirty="0"/>
              <a:t>*Barba A, Diez-</a:t>
            </a:r>
            <a:r>
              <a:rPr lang="de-CH" sz="1300" dirty="0" err="1"/>
              <a:t>Escudero</a:t>
            </a:r>
            <a:r>
              <a:rPr lang="de-CH" sz="1300" dirty="0"/>
              <a:t> A, </a:t>
            </a:r>
            <a:r>
              <a:rPr lang="de-CH" sz="1300" dirty="0" err="1"/>
              <a:t>Espanol</a:t>
            </a:r>
            <a:r>
              <a:rPr lang="de-CH" sz="1300" dirty="0"/>
              <a:t> M, et al. The </a:t>
            </a:r>
            <a:r>
              <a:rPr lang="de-CH" sz="1300" dirty="0" err="1"/>
              <a:t>impact</a:t>
            </a:r>
            <a:r>
              <a:rPr lang="de-CH" sz="1300" dirty="0"/>
              <a:t> </a:t>
            </a:r>
            <a:r>
              <a:rPr lang="de-CH" sz="1300" dirty="0" err="1"/>
              <a:t>of</a:t>
            </a:r>
            <a:r>
              <a:rPr lang="de-CH" sz="1300" dirty="0"/>
              <a:t> </a:t>
            </a:r>
            <a:r>
              <a:rPr lang="de-CH" sz="1300" dirty="0" err="1"/>
              <a:t>biomimicry</a:t>
            </a:r>
            <a:r>
              <a:rPr lang="de-CH" sz="1300" dirty="0"/>
              <a:t> in </a:t>
            </a:r>
            <a:r>
              <a:rPr lang="de-CH" sz="1300" dirty="0" err="1"/>
              <a:t>the</a:t>
            </a:r>
            <a:r>
              <a:rPr lang="de-CH" sz="1300" dirty="0"/>
              <a:t> design </a:t>
            </a:r>
            <a:r>
              <a:rPr lang="de-CH" sz="1300" dirty="0" err="1"/>
              <a:t>of</a:t>
            </a:r>
            <a:r>
              <a:rPr lang="de-CH" sz="1300" dirty="0"/>
              <a:t> </a:t>
            </a:r>
            <a:r>
              <a:rPr lang="de-CH" sz="1300" dirty="0" err="1"/>
              <a:t>osteoinductive</a:t>
            </a:r>
            <a:r>
              <a:rPr lang="de-CH" sz="1300" dirty="0"/>
              <a:t> </a:t>
            </a:r>
            <a:r>
              <a:rPr lang="de-CH" sz="1300" dirty="0" err="1"/>
              <a:t>bone</a:t>
            </a:r>
            <a:r>
              <a:rPr lang="de-CH" sz="1300" dirty="0"/>
              <a:t> </a:t>
            </a:r>
            <a:r>
              <a:rPr lang="de-CH" sz="1300" dirty="0" err="1"/>
              <a:t>substitutes</a:t>
            </a:r>
            <a:r>
              <a:rPr lang="de-CH" sz="1300" dirty="0"/>
              <a:t>: </a:t>
            </a:r>
            <a:r>
              <a:rPr lang="de-CH" sz="1300" dirty="0" err="1"/>
              <a:t>nanoscale</a:t>
            </a:r>
            <a:r>
              <a:rPr lang="de-CH" sz="1300" dirty="0"/>
              <a:t> </a:t>
            </a:r>
            <a:r>
              <a:rPr lang="de-CH" sz="1300" dirty="0" err="1"/>
              <a:t>matters</a:t>
            </a:r>
            <a:r>
              <a:rPr lang="de-CH" sz="1300" dirty="0"/>
              <a:t>. ACS </a:t>
            </a:r>
            <a:r>
              <a:rPr lang="de-CH" sz="1300" dirty="0" err="1"/>
              <a:t>Appl</a:t>
            </a:r>
            <a:r>
              <a:rPr lang="de-CH" sz="1300" dirty="0"/>
              <a:t>. Mater. Interfaces 2019. DOI:10.1021/acsami.8b20749.</a:t>
            </a:r>
          </a:p>
          <a:p>
            <a:endParaRPr lang="de-CH" sz="1300" dirty="0"/>
          </a:p>
          <a:p>
            <a:r>
              <a:rPr lang="de-CH" sz="1300" dirty="0"/>
              <a:t>**Rufino </a:t>
            </a:r>
            <a:r>
              <a:rPr lang="de-CH" sz="1300" dirty="0" err="1"/>
              <a:t>Senra</a:t>
            </a:r>
            <a:r>
              <a:rPr lang="de-CH" sz="1300" dirty="0"/>
              <a:t> M, de Fátima Vieira Marques M. </a:t>
            </a:r>
            <a:r>
              <a:rPr lang="de-CH" sz="1300" dirty="0" err="1"/>
              <a:t>Synthetic</a:t>
            </a:r>
            <a:r>
              <a:rPr lang="de-CH" sz="1300" dirty="0"/>
              <a:t> </a:t>
            </a:r>
            <a:r>
              <a:rPr lang="de-CH" sz="1300" dirty="0" err="1"/>
              <a:t>Polymeric</a:t>
            </a:r>
            <a:r>
              <a:rPr lang="de-CH" sz="1300" dirty="0"/>
              <a:t> Materials </a:t>
            </a:r>
            <a:r>
              <a:rPr lang="de-CH" sz="1300" dirty="0" err="1"/>
              <a:t>for</a:t>
            </a:r>
            <a:r>
              <a:rPr lang="de-CH" sz="1300" dirty="0"/>
              <a:t> </a:t>
            </a:r>
            <a:r>
              <a:rPr lang="de-CH" sz="1300" dirty="0" err="1"/>
              <a:t>Bone</a:t>
            </a:r>
            <a:r>
              <a:rPr lang="de-CH" sz="1300" dirty="0"/>
              <a:t> </a:t>
            </a:r>
            <a:r>
              <a:rPr lang="de-CH" sz="1300" dirty="0" err="1"/>
              <a:t>Replacement</a:t>
            </a:r>
            <a:r>
              <a:rPr lang="de-CH" sz="1300" dirty="0"/>
              <a:t>. J. Compos. </a:t>
            </a:r>
            <a:r>
              <a:rPr lang="de-CH" sz="1300" dirty="0" err="1"/>
              <a:t>Sci</a:t>
            </a:r>
            <a:r>
              <a:rPr lang="de-CH" sz="1300" dirty="0"/>
              <a:t>. 2020,4, 191;doi:10.3390/jcs4040191.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4932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The pore volume distribution over pore diameter is expressed in terms of the distribution function </a:t>
            </a:r>
            <a:r>
              <a:rPr lang="en-US" b="0" i="0" dirty="0" err="1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Fv</a:t>
            </a:r>
            <a:endParaRPr lang="en-US" b="0" i="0" dirty="0">
              <a:solidFill>
                <a:srgbClr val="111111"/>
              </a:solidFill>
              <a:effectLst/>
              <a:latin typeface="Roboto" panose="02000000000000000000" pitchFamily="2" charset="0"/>
            </a:endParaRPr>
          </a:p>
          <a:p>
            <a:pPr algn="l"/>
            <a:r>
              <a:rPr lang="en-US" b="0" i="0" dirty="0" err="1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Fv</a:t>
            </a:r>
            <a:r>
              <a:rPr lang="en-US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 = - (</a:t>
            </a:r>
            <a:r>
              <a:rPr lang="en-US" b="0" i="0" dirty="0" err="1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dV</a:t>
            </a:r>
            <a:r>
              <a:rPr lang="en-US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 / d log D)  where V is pore volume. The function is such that area under the function in any pore diameter range yields volume of pores in that range.</a:t>
            </a:r>
          </a:p>
          <a:p>
            <a:pPr algn="l"/>
            <a:endParaRPr lang="en-US" b="0" i="0" dirty="0">
              <a:solidFill>
                <a:srgbClr val="111111"/>
              </a:solidFill>
              <a:effectLst/>
              <a:latin typeface="Roboto" panose="02000000000000000000" pitchFamily="2" charset="0"/>
            </a:endParaRPr>
          </a:p>
          <a:p>
            <a:pPr algn="l"/>
            <a:endParaRPr lang="en-US" b="0" i="0" dirty="0">
              <a:solidFill>
                <a:srgbClr val="111111"/>
              </a:solidFill>
              <a:effectLst/>
              <a:latin typeface="Roboto" panose="02000000000000000000" pitchFamily="2" charset="0"/>
            </a:endParaRPr>
          </a:p>
          <a:p>
            <a:pPr algn="l"/>
            <a:endParaRPr lang="en-US" b="0" i="0" dirty="0">
              <a:solidFill>
                <a:srgbClr val="111111"/>
              </a:solidFill>
              <a:effectLst/>
              <a:latin typeface="Roboto" panose="02000000000000000000" pitchFamily="2" charset="0"/>
            </a:endParaRPr>
          </a:p>
          <a:p>
            <a:pPr algn="l"/>
            <a:endParaRPr lang="en-US" b="0" i="0" dirty="0">
              <a:solidFill>
                <a:srgbClr val="111111"/>
              </a:solidFill>
              <a:effectLst/>
              <a:latin typeface="Roboto" panose="02000000000000000000" pitchFamily="2" charset="0"/>
            </a:endParaRP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sz="1300" dirty="0"/>
              <a:t>The calcium phosphate apatite in our bone mineral is around 50-100 nanometers size scale, creos </a:t>
            </a:r>
            <a:r>
              <a:rPr lang="en-US" sz="1300" dirty="0" err="1"/>
              <a:t>sytogain</a:t>
            </a:r>
            <a:r>
              <a:rPr lang="en-US" sz="1300" dirty="0"/>
              <a:t> is of that size scale.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sz="1300" dirty="0"/>
              <a:t>The body will see that as something closer to bone mineral and be able to resorb that easily as opposed to ceramics, which are at the micron scale.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sz="1300" dirty="0"/>
              <a:t>High porosity,  thus allowing good inflow of blood, cell colonization and reliable bone formatio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73936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900" dirty="0">
                <a:latin typeface="Calibri" panose="020F0502020204030204" pitchFamily="34" charset="0"/>
                <a:ea typeface="Times New Roman" panose="02020603050405020304" pitchFamily="18" charset="0"/>
              </a:rPr>
              <a:t>P-value &gt; 0.05</a:t>
            </a:r>
          </a:p>
          <a:p>
            <a:r>
              <a:rPr lang="en-US" sz="1900" dirty="0">
                <a:latin typeface="Calibri" panose="020F0502020204030204" pitchFamily="34" charset="0"/>
                <a:ea typeface="Times New Roman" panose="02020603050405020304" pitchFamily="18" charset="0"/>
              </a:rPr>
              <a:t>Indicates that </a:t>
            </a:r>
            <a:r>
              <a:rPr lang="en-US" sz="19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here is no difference between two measured phenomena </a:t>
            </a:r>
            <a:r>
              <a:rPr lang="en-US" sz="1900" dirty="0">
                <a:latin typeface="Calibri" panose="020F0502020204030204" pitchFamily="34" charset="0"/>
                <a:ea typeface="Times New Roman" panose="02020603050405020304" pitchFamily="18" charset="0"/>
              </a:rPr>
              <a:t>= substantially equivalent each other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Here we would need:</a:t>
            </a:r>
          </a:p>
          <a:p>
            <a:r>
              <a:rPr lang="fr-CH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hotos of </a:t>
            </a:r>
            <a:r>
              <a:rPr lang="fr-CH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inical</a:t>
            </a:r>
            <a:r>
              <a:rPr lang="fr-CH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ases </a:t>
            </a:r>
            <a:r>
              <a:rPr lang="fr-CH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om</a:t>
            </a:r>
            <a:r>
              <a:rPr lang="fr-CH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Ginebreda </a:t>
            </a:r>
            <a:r>
              <a:rPr lang="fr-CH" dirty="0" err="1">
                <a:latin typeface="Calibri" panose="020F0502020204030204" pitchFamily="34" charset="0"/>
                <a:cs typeface="Times New Roman" panose="02020603050405020304" pitchFamily="18" charset="0"/>
              </a:rPr>
              <a:t>With</a:t>
            </a:r>
            <a:r>
              <a:rPr lang="fr-CH" dirty="0">
                <a:latin typeface="Calibri" panose="020F0502020204030204" pitchFamily="34" charset="0"/>
                <a:cs typeface="Times New Roman" panose="02020603050405020304" pitchFamily="18" charset="0"/>
              </a:rPr>
              <a:t> long follow-up (2 </a:t>
            </a:r>
            <a:r>
              <a:rPr lang="fr-CH" dirty="0" err="1">
                <a:latin typeface="Calibri" panose="020F0502020204030204" pitchFamily="34" charset="0"/>
                <a:cs typeface="Times New Roman" panose="02020603050405020304" pitchFamily="18" charset="0"/>
              </a:rPr>
              <a:t>years</a:t>
            </a:r>
            <a:r>
              <a:rPr lang="fr-CH" dirty="0">
                <a:latin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r>
              <a:rPr lang="en-US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</a:t>
            </a:r>
            <a:r>
              <a:rPr lang="en-US" sz="13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tologies</a:t>
            </a:r>
            <a:r>
              <a:rPr lang="en-US" sz="13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d % measurements of bone to contact to clearly demonstrate </a:t>
            </a:r>
            <a:r>
              <a:rPr lang="en-US" sz="13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steoconductiviy</a:t>
            </a:r>
            <a:r>
              <a:rPr lang="en-US" sz="13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d volume stability.</a:t>
            </a:r>
            <a:endParaRPr lang="de-CH" sz="13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3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stologies</a:t>
            </a:r>
            <a:r>
              <a:rPr lang="en-US" sz="13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rom clinical cases</a:t>
            </a:r>
            <a:endParaRPr lang="de-CH" dirty="0"/>
          </a:p>
          <a:p>
            <a:r>
              <a:rPr lang="fr-CH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de-CH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84593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1156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0329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8258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9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10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1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12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emf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image" Target="../media/image14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oleObject" Target="../embeddings/oleObject22.bin"/><Relationship Id="rId5" Type="http://schemas.openxmlformats.org/officeDocument/2006/relationships/image" Target="../media/image16.emf"/><Relationship Id="rId4" Type="http://schemas.openxmlformats.org/officeDocument/2006/relationships/image" Target="../media/image17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18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7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F62BB54-9E74-4073-B5B8-25A0DDC01D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7545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F62BB54-9E74-4073-B5B8-25A0DDC01D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6BD4750-C10D-44A8-9459-858D99CD01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98259268-9714-44CC-A2C7-58556D4CFF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50A316F3-A2DE-46B4-92AA-BF11BC6F5FFA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03950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5E039-43B5-47F3-B6B5-2744629A9262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4461595-1EEC-40FA-B979-62C5B7A9EA24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9DA597B-3437-4983-ADA1-C0A2EFFC6D5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0760B3-7C3D-4AA1-95E9-A5AE83B9C75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F5707BF-C0FF-4488-BFC1-DCE99B0B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2189124"/>
      </p:ext>
    </p:extLst>
  </p:cSld>
  <p:clrMapOvr>
    <a:masterClrMapping/>
  </p:clrMapOvr>
  <p:transition spd="slow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ize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DB96936-4807-4578-8EB2-6ECD168BFE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5640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DB96936-4807-4578-8EB2-6ECD168BFE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441FDCE-2983-41C6-8A78-57C9BD2AA6E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3110B0BD-4F20-4AD2-A47E-04397F684BE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9C5461-D5EA-4602-ABFD-1AB77F41D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6F9F56-E34A-4D7E-9409-58F2482EFAFA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DE7ED74-CE7B-4C24-A77C-517CCBBD3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2B3C37-C8E0-45AA-8EEB-A47F4840C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7F05EA4-D3CA-42BD-BE16-DE4F10B14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3953175"/>
      </p:ext>
    </p:extLst>
  </p:cSld>
  <p:clrMapOvr>
    <a:masterClrMapping/>
  </p:clrMapOvr>
  <p:transition spd="slow">
    <p:wip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1748FF4-1847-440D-B4A8-B07068CB1C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27BF6CD-3EEB-4A17-968B-B57D520120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80289" y="3027538"/>
            <a:ext cx="2431421" cy="802925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9C6CCE-1867-4EDC-8A2C-C9E5FE19F6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467849"/>
            <a:ext cx="10972800" cy="218586"/>
          </a:xfrm>
        </p:spPr>
        <p:txBody>
          <a:bodyPr>
            <a:sp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1FD3D8-BE03-48D7-B7D6-1963799A3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5852160"/>
            <a:ext cx="10972800" cy="124906"/>
          </a:xfrm>
        </p:spPr>
        <p:txBody>
          <a:bodyPr wrap="square" lIns="0" tIns="0" rIns="0" bIns="0">
            <a:spAutoFit/>
          </a:bodyPr>
          <a:lstStyle>
            <a:lvl1pPr>
              <a:defRPr lang="en-US" sz="800" b="0" i="0" u="none" strike="noStrike" dirty="0" smtClean="0">
                <a:solidFill>
                  <a:schemeClr val="bg1"/>
                </a:solidFill>
              </a:defRPr>
            </a:lvl1pPr>
            <a:lvl2pPr>
              <a:defRPr lang="en-US" sz="1800" dirty="0" smtClean="0">
                <a:solidFill>
                  <a:schemeClr val="tx1"/>
                </a:solidFill>
              </a:defRPr>
            </a:lvl2pPr>
            <a:lvl3pPr>
              <a:defRPr lang="en-US" sz="1800" dirty="0" smtClean="0">
                <a:solidFill>
                  <a:schemeClr val="tx1"/>
                </a:solidFill>
              </a:defRPr>
            </a:lvl3pPr>
            <a:lvl4pPr>
              <a:defRPr lang="en-US" sz="1800" dirty="0" smtClean="0">
                <a:solidFill>
                  <a:schemeClr val="tx1"/>
                </a:solidFill>
              </a:defRPr>
            </a:lvl4pPr>
            <a:lvl5pPr>
              <a:defRPr lang="en-US" sz="180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Imprint</a:t>
            </a:r>
          </a:p>
        </p:txBody>
      </p:sp>
    </p:spTree>
    <p:extLst>
      <p:ext uri="{BB962C8B-B14F-4D97-AF65-F5344CB8AC3E}">
        <p14:creationId xmlns:p14="http://schemas.microsoft.com/office/powerpoint/2010/main" val="541353400"/>
      </p:ext>
    </p:extLst>
  </p:cSld>
  <p:clrMapOvr>
    <a:masterClrMapping/>
  </p:clrMapOvr>
  <p:transition spd="slow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624FB37B-3025-4DE4-9926-B6DFCC0B1C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0595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624FB37B-3025-4DE4-9926-B6DFCC0B1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A53803A-858A-4ABA-ACA8-350C727362D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3110B0BD-4F20-4AD2-A47E-04397F684BE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C2FBF6A0-2A98-4272-801F-E5E5C8A9330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342720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521F19F4-0081-405A-9FFC-547D935336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063800" y="342720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71EDF6C2-AA7D-4F89-A67F-8717496E07C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7600" y="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1396492-B460-420D-A8AE-A4D8D0B3E3F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27600" y="342720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9C5461-D5EA-4602-ABFD-1AB77F41D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BA284F-32CF-4DF7-AF2C-EC40DEFAF5EF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DE7ED74-CE7B-4C24-A77C-517CCBBD3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2B3C37-C8E0-45AA-8EEB-A47F4840C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EF5BD2D1-6604-482B-B501-CC3B55774AD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63800" y="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3CABFA-1BF9-438F-8452-5E6A60B02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3632514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2557" userDrawn="1">
          <p15:clr>
            <a:srgbClr val="FBAE40"/>
          </p15:clr>
        </p15:guide>
        <p15:guide id="4" pos="511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ter -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958A507-DAFA-42BF-8849-C3CB4289A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3" imgH="416" progId="TCLayout.ActiveDocument.1">
                  <p:embed/>
                </p:oleObj>
              </mc:Choice>
              <mc:Fallback>
                <p:oleObj name="think-cell Slide" r:id="rId4" imgW="413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958A507-DAFA-42BF-8849-C3CB4289A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02DE261-04CD-4B94-BD88-3E91949FEA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ot">
            <a:extLst>
              <a:ext uri="{FF2B5EF4-FFF2-40B4-BE49-F238E27FC236}">
                <a16:creationId xmlns:a16="http://schemas.microsoft.com/office/drawing/2014/main" id="{CB574361-3B97-4389-9DE0-5B25DFE5D667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585" tIns="26585" rIns="11077" bIns="11077" rtlCol="0" anchor="t" anchorCtr="0"/>
          <a:lstStyle/>
          <a:p>
            <a:pPr algn="ctr" eaLnBrk="1">
              <a:lnSpc>
                <a:spcPct val="105000"/>
              </a:lnSpc>
            </a:pPr>
            <a:endParaRPr lang="en-US" sz="986" noProof="0">
              <a:solidFill>
                <a:schemeClr val="tx1"/>
              </a:solidFill>
            </a:endParaRPr>
          </a:p>
        </p:txBody>
      </p:sp>
      <p:sp>
        <p:nvSpPr>
          <p:cNvPr id="9" name="hellrot">
            <a:extLst>
              <a:ext uri="{FF2B5EF4-FFF2-40B4-BE49-F238E27FC236}">
                <a16:creationId xmlns:a16="http://schemas.microsoft.com/office/drawing/2014/main" id="{C6366DF7-9E3E-4DFD-BC00-8921066868C2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E03E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3038" noProof="0"/>
          </a:p>
        </p:txBody>
      </p:sp>
      <p:sp>
        <p:nvSpPr>
          <p:cNvPr id="10" name="dunkelrot">
            <a:extLst>
              <a:ext uri="{FF2B5EF4-FFF2-40B4-BE49-F238E27FC236}">
                <a16:creationId xmlns:a16="http://schemas.microsoft.com/office/drawing/2014/main" id="{49C62A64-95AD-449A-AE83-8769CF5416E3}"/>
              </a:ext>
            </a:extLst>
          </p:cNvPr>
          <p:cNvSpPr/>
          <p:nvPr userDrawn="1"/>
        </p:nvSpPr>
        <p:spPr>
          <a:xfrm>
            <a:off x="-600" y="0"/>
            <a:ext cx="121932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3038" noProof="0"/>
          </a:p>
        </p:txBody>
      </p:sp>
      <p:sp>
        <p:nvSpPr>
          <p:cNvPr id="11" name="rot">
            <a:extLst>
              <a:ext uri="{FF2B5EF4-FFF2-40B4-BE49-F238E27FC236}">
                <a16:creationId xmlns:a16="http://schemas.microsoft.com/office/drawing/2014/main" id="{74E6412B-E7DD-4AF8-A8F2-7131EEA7149B}"/>
              </a:ext>
            </a:extLst>
          </p:cNvPr>
          <p:cNvSpPr/>
          <p:nvPr userDrawn="1"/>
        </p:nvSpPr>
        <p:spPr>
          <a:xfrm>
            <a:off x="-1200" y="0"/>
            <a:ext cx="121932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585" tIns="26585" rIns="11077" bIns="11077" rtlCol="0" anchor="t" anchorCtr="0"/>
          <a:lstStyle/>
          <a:p>
            <a:pPr algn="ctr" eaLnBrk="1">
              <a:lnSpc>
                <a:spcPct val="105000"/>
              </a:lnSpc>
            </a:pPr>
            <a:endParaRPr lang="en-US" sz="986" noProof="0">
              <a:solidFill>
                <a:schemeClr val="tx1"/>
              </a:solidFill>
            </a:endParaRP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6D9BA064-8BEC-4E18-9E5F-8638A855F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D6484004-B62C-415E-B446-0AE6DF1C13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F2F5208C-51E6-4F23-8234-0200112DC9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2653803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4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4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0" nodeType="withEffect">
                                  <p:stCondLst>
                                    <p:cond delay="8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4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30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FDF5D34B-0283-4D01-B492-5FEAE9C035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add subtit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7C1E203-03F3-45D4-B40C-A97FDCB607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C82C160E-FC3B-4FBE-84E5-B08BEC955C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0245906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2" grpId="0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Untertitel 2">
            <a:extLst>
              <a:ext uri="{FF2B5EF4-FFF2-40B4-BE49-F238E27FC236}">
                <a16:creationId xmlns:a16="http://schemas.microsoft.com/office/drawing/2014/main" id="{6B5D94AD-F196-49BF-AF5D-11ED7A329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54B83628-2DB9-46D3-8D97-3DE0C3FD1D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6EFA8792-8BE1-48F6-ACBE-6158CAE8FC2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665109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99FB246E-D7EE-4147-9A45-30F05107B9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3200" cy="6858000"/>
          </a:xfrm>
          <a:prstGeom prst="rect">
            <a:avLst/>
          </a:prstGeom>
        </p:spPr>
      </p:pic>
      <p:sp>
        <p:nvSpPr>
          <p:cNvPr id="21" name="Ovelay">
            <a:extLst>
              <a:ext uri="{FF2B5EF4-FFF2-40B4-BE49-F238E27FC236}">
                <a16:creationId xmlns:a16="http://schemas.microsoft.com/office/drawing/2014/main" id="{483A1F15-D191-49B1-929B-1F0218123F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AC9E3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/>
          </a:p>
        </p:txBody>
      </p:sp>
      <p:sp>
        <p:nvSpPr>
          <p:cNvPr id="24" name="hellgrün 1">
            <a:extLst>
              <a:ext uri="{FF2B5EF4-FFF2-40B4-BE49-F238E27FC236}">
                <a16:creationId xmlns:a16="http://schemas.microsoft.com/office/drawing/2014/main" id="{0A552650-4A2A-4A1A-9824-581B7EF99CF3}"/>
              </a:ext>
            </a:extLst>
          </p:cNvPr>
          <p:cNvSpPr/>
          <p:nvPr userDrawn="1"/>
        </p:nvSpPr>
        <p:spPr>
          <a:xfrm>
            <a:off x="7572608" y="0"/>
            <a:ext cx="4625478" cy="6858000"/>
          </a:xfrm>
          <a:prstGeom prst="rect">
            <a:avLst/>
          </a:prstGeom>
          <a:solidFill>
            <a:srgbClr val="B5E3D8">
              <a:alpha val="3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754" tIns="15754" rIns="6564" bIns="6564" rtlCol="0" anchor="t" anchorCtr="0"/>
          <a:lstStyle/>
          <a:p>
            <a:pPr algn="ctr" eaLnBrk="1">
              <a:lnSpc>
                <a:spcPct val="105000"/>
              </a:lnSpc>
            </a:pPr>
            <a:endParaRPr lang="en-US" sz="584" noProof="0">
              <a:solidFill>
                <a:schemeClr val="tx1"/>
              </a:solidFill>
            </a:endParaRPr>
          </a:p>
        </p:txBody>
      </p:sp>
      <p:sp>
        <p:nvSpPr>
          <p:cNvPr id="25" name="violett 50%">
            <a:extLst>
              <a:ext uri="{FF2B5EF4-FFF2-40B4-BE49-F238E27FC236}">
                <a16:creationId xmlns:a16="http://schemas.microsoft.com/office/drawing/2014/main" id="{A4140D85-ADA5-41CF-B396-631F3A91EACE}"/>
              </a:ext>
            </a:extLst>
          </p:cNvPr>
          <p:cNvSpPr/>
          <p:nvPr userDrawn="1"/>
        </p:nvSpPr>
        <p:spPr>
          <a:xfrm>
            <a:off x="875784" y="0"/>
            <a:ext cx="1549699" cy="6858000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754" tIns="15754" rIns="6564" bIns="6564" rtlCol="0" anchor="t" anchorCtr="0"/>
          <a:lstStyle/>
          <a:p>
            <a:pPr algn="ctr" eaLnBrk="1">
              <a:lnSpc>
                <a:spcPct val="105000"/>
              </a:lnSpc>
            </a:pPr>
            <a:endParaRPr lang="en-US" sz="584" noProof="0">
              <a:solidFill>
                <a:schemeClr val="tx1"/>
              </a:solidFill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127886F5-348A-489F-9A5A-02E9E01FE1FC}"/>
              </a:ext>
            </a:extLst>
          </p:cNvPr>
          <p:cNvGrpSpPr/>
          <p:nvPr userDrawn="1"/>
        </p:nvGrpSpPr>
        <p:grpSpPr>
          <a:xfrm>
            <a:off x="1586704" y="0"/>
            <a:ext cx="2048228" cy="6858000"/>
            <a:chOff x="4619031" y="0"/>
            <a:chExt cx="5616624" cy="8571706"/>
          </a:xfrm>
          <a:solidFill>
            <a:srgbClr val="B5E3D8">
              <a:alpha val="50000"/>
            </a:srgbClr>
          </a:solidFill>
        </p:grpSpPr>
        <p:sp>
          <p:nvSpPr>
            <p:cNvPr id="27" name="pink 1">
              <a:extLst>
                <a:ext uri="{FF2B5EF4-FFF2-40B4-BE49-F238E27FC236}">
                  <a16:creationId xmlns:a16="http://schemas.microsoft.com/office/drawing/2014/main" id="{A4CBD221-E2A9-42EA-86D6-4D21B139D071}"/>
                </a:ext>
              </a:extLst>
            </p:cNvPr>
            <p:cNvSpPr/>
            <p:nvPr/>
          </p:nvSpPr>
          <p:spPr>
            <a:xfrm>
              <a:off x="4619031" y="793"/>
              <a:ext cx="5616624" cy="8570913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5754" tIns="15754" rIns="6564" bIns="6564" rtlCol="0" anchor="t" anchorCtr="0"/>
            <a:lstStyle/>
            <a:p>
              <a:pPr algn="ctr" eaLnBrk="1">
                <a:lnSpc>
                  <a:spcPct val="105000"/>
                </a:lnSpc>
              </a:pPr>
              <a:endParaRPr lang="en-US" sz="584" noProof="0">
                <a:solidFill>
                  <a:schemeClr val="tx1"/>
                </a:solidFill>
              </a:endParaRPr>
            </a:p>
          </p:txBody>
        </p:sp>
        <p:sp>
          <p:nvSpPr>
            <p:cNvPr id="28" name="pink 1">
              <a:extLst>
                <a:ext uri="{FF2B5EF4-FFF2-40B4-BE49-F238E27FC236}">
                  <a16:creationId xmlns:a16="http://schemas.microsoft.com/office/drawing/2014/main" id="{912956EF-AB6F-44D9-94AA-5BC051A72DAE}"/>
                </a:ext>
              </a:extLst>
            </p:cNvPr>
            <p:cNvSpPr/>
            <p:nvPr/>
          </p:nvSpPr>
          <p:spPr>
            <a:xfrm>
              <a:off x="4619031" y="0"/>
              <a:ext cx="3664465" cy="8570913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5754" tIns="15754" rIns="6564" bIns="6564" rtlCol="0" anchor="t" anchorCtr="0"/>
            <a:lstStyle/>
            <a:p>
              <a:pPr algn="ctr" eaLnBrk="1">
                <a:lnSpc>
                  <a:spcPct val="105000"/>
                </a:lnSpc>
              </a:pPr>
              <a:endParaRPr lang="en-US" sz="584" noProof="0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BD64268A-0817-49D8-B3BE-762AAECD8288}"/>
              </a:ext>
            </a:extLst>
          </p:cNvPr>
          <p:cNvGrpSpPr/>
          <p:nvPr userDrawn="1"/>
        </p:nvGrpSpPr>
        <p:grpSpPr>
          <a:xfrm>
            <a:off x="8556773" y="0"/>
            <a:ext cx="3635227" cy="6858000"/>
            <a:chOff x="23464275" y="0"/>
            <a:chExt cx="9968475" cy="8571706"/>
          </a:xfrm>
        </p:grpSpPr>
        <p:sp>
          <p:nvSpPr>
            <p:cNvPr id="30" name="pink 1">
              <a:extLst>
                <a:ext uri="{FF2B5EF4-FFF2-40B4-BE49-F238E27FC236}">
                  <a16:creationId xmlns:a16="http://schemas.microsoft.com/office/drawing/2014/main" id="{E71B4024-9D71-4AF7-A788-3DA363DFC111}"/>
                </a:ext>
              </a:extLst>
            </p:cNvPr>
            <p:cNvSpPr/>
            <p:nvPr/>
          </p:nvSpPr>
          <p:spPr>
            <a:xfrm>
              <a:off x="27816126" y="0"/>
              <a:ext cx="5616624" cy="8570913"/>
            </a:xfrm>
            <a:prstGeom prst="rect">
              <a:avLst/>
            </a:prstGeom>
            <a:solidFill>
              <a:srgbClr val="B5E3D8">
                <a:alpha val="5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5754" tIns="15754" rIns="6564" bIns="6564" rtlCol="0" anchor="t" anchorCtr="0"/>
            <a:lstStyle/>
            <a:p>
              <a:pPr algn="ctr" eaLnBrk="1">
                <a:lnSpc>
                  <a:spcPct val="105000"/>
                </a:lnSpc>
              </a:pPr>
              <a:endParaRPr lang="en-US" sz="584" noProof="0">
                <a:solidFill>
                  <a:schemeClr val="tx1"/>
                </a:solidFill>
              </a:endParaRPr>
            </a:p>
          </p:txBody>
        </p:sp>
        <p:sp>
          <p:nvSpPr>
            <p:cNvPr id="31" name="pink 1">
              <a:extLst>
                <a:ext uri="{FF2B5EF4-FFF2-40B4-BE49-F238E27FC236}">
                  <a16:creationId xmlns:a16="http://schemas.microsoft.com/office/drawing/2014/main" id="{4693E7BF-A02D-4D5A-886A-4C6B97776E7A}"/>
                </a:ext>
              </a:extLst>
            </p:cNvPr>
            <p:cNvSpPr/>
            <p:nvPr/>
          </p:nvSpPr>
          <p:spPr>
            <a:xfrm>
              <a:off x="23464275" y="793"/>
              <a:ext cx="5616624" cy="8570913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5754" tIns="15754" rIns="6564" bIns="6564" rtlCol="0" anchor="t" anchorCtr="0"/>
            <a:lstStyle/>
            <a:p>
              <a:pPr algn="ctr" eaLnBrk="1">
                <a:lnSpc>
                  <a:spcPct val="105000"/>
                </a:lnSpc>
              </a:pPr>
              <a:endParaRPr lang="en-US" sz="584" noProof="0">
                <a:solidFill>
                  <a:schemeClr val="tx1"/>
                </a:solidFill>
              </a:endParaRPr>
            </a:p>
          </p:txBody>
        </p:sp>
      </p:grpSp>
      <p:sp>
        <p:nvSpPr>
          <p:cNvPr id="32" name="violett 50%">
            <a:extLst>
              <a:ext uri="{FF2B5EF4-FFF2-40B4-BE49-F238E27FC236}">
                <a16:creationId xmlns:a16="http://schemas.microsoft.com/office/drawing/2014/main" id="{9FB4F062-510C-4A8D-9AD8-00465F0BD709}"/>
              </a:ext>
            </a:extLst>
          </p:cNvPr>
          <p:cNvSpPr/>
          <p:nvPr userDrawn="1"/>
        </p:nvSpPr>
        <p:spPr>
          <a:xfrm>
            <a:off x="1994163" y="0"/>
            <a:ext cx="6486202" cy="6858000"/>
          </a:xfrm>
          <a:prstGeom prst="rect">
            <a:avLst/>
          </a:prstGeom>
          <a:solidFill>
            <a:srgbClr val="88DBDF">
              <a:alpha val="3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754" tIns="15754" rIns="6564" bIns="6564" rtlCol="0" anchor="t" anchorCtr="0"/>
          <a:lstStyle/>
          <a:p>
            <a:pPr algn="ctr" eaLnBrk="1">
              <a:lnSpc>
                <a:spcPct val="105000"/>
              </a:lnSpc>
            </a:pPr>
            <a:endParaRPr lang="en-US" sz="584" noProof="0">
              <a:solidFill>
                <a:schemeClr val="tx1"/>
              </a:solidFill>
            </a:endParaRPr>
          </a:p>
        </p:txBody>
      </p:sp>
      <p:sp>
        <p:nvSpPr>
          <p:cNvPr id="33" name="schwarz 50%">
            <a:extLst>
              <a:ext uri="{FF2B5EF4-FFF2-40B4-BE49-F238E27FC236}">
                <a16:creationId xmlns:a16="http://schemas.microsoft.com/office/drawing/2014/main" id="{B69F4530-C087-4392-B199-01FC51620DB8}"/>
              </a:ext>
            </a:extLst>
          </p:cNvPr>
          <p:cNvSpPr/>
          <p:nvPr userDrawn="1"/>
        </p:nvSpPr>
        <p:spPr>
          <a:xfrm flipH="1">
            <a:off x="0" y="1600"/>
            <a:ext cx="7208025" cy="6858000"/>
          </a:xfrm>
          <a:prstGeom prst="rect">
            <a:avLst/>
          </a:prstGeom>
          <a:solidFill>
            <a:srgbClr val="4AC9E3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754" tIns="15754" rIns="6564" bIns="6564" rtlCol="0" anchor="t" anchorCtr="0"/>
          <a:lstStyle/>
          <a:p>
            <a:pPr algn="ctr" eaLnBrk="1">
              <a:lnSpc>
                <a:spcPct val="105000"/>
              </a:lnSpc>
            </a:pPr>
            <a:endParaRPr lang="en-US" sz="584" noProof="0">
              <a:solidFill>
                <a:schemeClr val="tx1"/>
              </a:solidFill>
            </a:endParaRPr>
          </a:p>
        </p:txBody>
      </p:sp>
      <p:sp>
        <p:nvSpPr>
          <p:cNvPr id="34" name="hellgrün 1">
            <a:extLst>
              <a:ext uri="{FF2B5EF4-FFF2-40B4-BE49-F238E27FC236}">
                <a16:creationId xmlns:a16="http://schemas.microsoft.com/office/drawing/2014/main" id="{D06124EE-837A-43CB-BEB5-34E64C480967}"/>
              </a:ext>
            </a:extLst>
          </p:cNvPr>
          <p:cNvSpPr/>
          <p:nvPr userDrawn="1"/>
        </p:nvSpPr>
        <p:spPr>
          <a:xfrm flipH="1">
            <a:off x="7181269" y="0"/>
            <a:ext cx="5010731" cy="6858000"/>
          </a:xfrm>
          <a:prstGeom prst="rect">
            <a:avLst/>
          </a:prstGeom>
          <a:solidFill>
            <a:srgbClr val="4AC9E3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754" tIns="15754" rIns="6564" bIns="6564" rtlCol="0" anchor="t" anchorCtr="0"/>
          <a:lstStyle/>
          <a:p>
            <a:pPr algn="ctr" eaLnBrk="1">
              <a:lnSpc>
                <a:spcPct val="105000"/>
              </a:lnSpc>
            </a:pPr>
            <a:endParaRPr lang="en-US" sz="584" noProof="0">
              <a:solidFill>
                <a:schemeClr val="tx1"/>
              </a:solidFill>
            </a:endParaRPr>
          </a:p>
        </p:txBody>
      </p:sp>
      <p:sp>
        <p:nvSpPr>
          <p:cNvPr id="35" name="violett 50%">
            <a:extLst>
              <a:ext uri="{FF2B5EF4-FFF2-40B4-BE49-F238E27FC236}">
                <a16:creationId xmlns:a16="http://schemas.microsoft.com/office/drawing/2014/main" id="{35035361-3DCC-4216-9AAB-5A8800BE8D64}"/>
              </a:ext>
            </a:extLst>
          </p:cNvPr>
          <p:cNvSpPr/>
          <p:nvPr userDrawn="1"/>
        </p:nvSpPr>
        <p:spPr>
          <a:xfrm flipH="1">
            <a:off x="869698" y="0"/>
            <a:ext cx="1549699" cy="6858000"/>
          </a:xfrm>
          <a:prstGeom prst="rect">
            <a:avLst/>
          </a:prstGeom>
          <a:solidFill>
            <a:srgbClr val="007398">
              <a:alpha val="3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754" tIns="15754" rIns="6564" bIns="6564" rtlCol="0" anchor="t" anchorCtr="0"/>
          <a:lstStyle/>
          <a:p>
            <a:pPr algn="ctr" eaLnBrk="1">
              <a:lnSpc>
                <a:spcPct val="105000"/>
              </a:lnSpc>
            </a:pPr>
            <a:endParaRPr lang="en-US" sz="584" noProof="0">
              <a:solidFill>
                <a:schemeClr val="tx1"/>
              </a:solidFill>
            </a:endParaRP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EC02AF39-D485-46CD-A2B1-95B37BD0B76C}"/>
              </a:ext>
            </a:extLst>
          </p:cNvPr>
          <p:cNvGrpSpPr/>
          <p:nvPr userDrawn="1"/>
        </p:nvGrpSpPr>
        <p:grpSpPr>
          <a:xfrm flipH="1">
            <a:off x="5211820" y="0"/>
            <a:ext cx="2048228" cy="6858000"/>
            <a:chOff x="4619031" y="0"/>
            <a:chExt cx="5616624" cy="8571706"/>
          </a:xfrm>
          <a:solidFill>
            <a:schemeClr val="bg1">
              <a:alpha val="30000"/>
            </a:schemeClr>
          </a:solidFill>
        </p:grpSpPr>
        <p:sp>
          <p:nvSpPr>
            <p:cNvPr id="37" name="pink 1">
              <a:extLst>
                <a:ext uri="{FF2B5EF4-FFF2-40B4-BE49-F238E27FC236}">
                  <a16:creationId xmlns:a16="http://schemas.microsoft.com/office/drawing/2014/main" id="{94B0DC9C-E726-4A4B-8CE4-73B0E52953F9}"/>
                </a:ext>
              </a:extLst>
            </p:cNvPr>
            <p:cNvSpPr/>
            <p:nvPr/>
          </p:nvSpPr>
          <p:spPr>
            <a:xfrm>
              <a:off x="4619031" y="793"/>
              <a:ext cx="5616624" cy="8570913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5754" tIns="15754" rIns="6564" bIns="6564" rtlCol="0" anchor="t" anchorCtr="0"/>
            <a:lstStyle/>
            <a:p>
              <a:pPr algn="ctr" eaLnBrk="1">
                <a:lnSpc>
                  <a:spcPct val="105000"/>
                </a:lnSpc>
              </a:pPr>
              <a:endParaRPr lang="en-US" sz="584" noProof="0">
                <a:solidFill>
                  <a:schemeClr val="tx1"/>
                </a:solidFill>
              </a:endParaRPr>
            </a:p>
          </p:txBody>
        </p:sp>
        <p:sp>
          <p:nvSpPr>
            <p:cNvPr id="38" name="pink 1">
              <a:extLst>
                <a:ext uri="{FF2B5EF4-FFF2-40B4-BE49-F238E27FC236}">
                  <a16:creationId xmlns:a16="http://schemas.microsoft.com/office/drawing/2014/main" id="{AD576C6A-4163-459E-8752-79249C9EA61F}"/>
                </a:ext>
              </a:extLst>
            </p:cNvPr>
            <p:cNvSpPr/>
            <p:nvPr/>
          </p:nvSpPr>
          <p:spPr>
            <a:xfrm>
              <a:off x="4619031" y="0"/>
              <a:ext cx="3664465" cy="8570913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5754" tIns="15754" rIns="6564" bIns="6564" rtlCol="0" anchor="t" anchorCtr="0"/>
            <a:lstStyle/>
            <a:p>
              <a:pPr algn="ctr" eaLnBrk="1">
                <a:lnSpc>
                  <a:spcPct val="105000"/>
                </a:lnSpc>
              </a:pPr>
              <a:endParaRPr lang="en-US" sz="584" noProof="0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99F332E9-8721-44D2-AFC8-48795777AEE9}"/>
              </a:ext>
            </a:extLst>
          </p:cNvPr>
          <p:cNvGrpSpPr/>
          <p:nvPr userDrawn="1"/>
        </p:nvGrpSpPr>
        <p:grpSpPr>
          <a:xfrm flipH="1">
            <a:off x="3817381" y="0"/>
            <a:ext cx="8374619" cy="6857366"/>
            <a:chOff x="23464274" y="0"/>
            <a:chExt cx="9968476" cy="8570914"/>
          </a:xfrm>
        </p:grpSpPr>
        <p:sp>
          <p:nvSpPr>
            <p:cNvPr id="40" name="pink 1">
              <a:extLst>
                <a:ext uri="{FF2B5EF4-FFF2-40B4-BE49-F238E27FC236}">
                  <a16:creationId xmlns:a16="http://schemas.microsoft.com/office/drawing/2014/main" id="{39E2DDBB-1B64-451A-AC63-D70B77C28264}"/>
                </a:ext>
              </a:extLst>
            </p:cNvPr>
            <p:cNvSpPr/>
            <p:nvPr/>
          </p:nvSpPr>
          <p:spPr>
            <a:xfrm>
              <a:off x="27816126" y="0"/>
              <a:ext cx="5616624" cy="8570913"/>
            </a:xfrm>
            <a:prstGeom prst="rect">
              <a:avLst/>
            </a:prstGeom>
            <a:solidFill>
              <a:srgbClr val="007398">
                <a:alpha val="5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5754" tIns="15754" rIns="6564" bIns="6564" rtlCol="0" anchor="t" anchorCtr="0"/>
            <a:lstStyle/>
            <a:p>
              <a:pPr algn="ctr" eaLnBrk="1">
                <a:lnSpc>
                  <a:spcPct val="105000"/>
                </a:lnSpc>
              </a:pPr>
              <a:endParaRPr lang="en-US" sz="584" noProof="0">
                <a:solidFill>
                  <a:schemeClr val="tx1"/>
                </a:solidFill>
              </a:endParaRPr>
            </a:p>
          </p:txBody>
        </p:sp>
        <p:sp>
          <p:nvSpPr>
            <p:cNvPr id="41" name="pink 1">
              <a:extLst>
                <a:ext uri="{FF2B5EF4-FFF2-40B4-BE49-F238E27FC236}">
                  <a16:creationId xmlns:a16="http://schemas.microsoft.com/office/drawing/2014/main" id="{A359FF69-56F9-470D-AC96-504C9274DD92}"/>
                </a:ext>
              </a:extLst>
            </p:cNvPr>
            <p:cNvSpPr/>
            <p:nvPr/>
          </p:nvSpPr>
          <p:spPr>
            <a:xfrm>
              <a:off x="23464274" y="0"/>
              <a:ext cx="5616625" cy="8570914"/>
            </a:xfrm>
            <a:prstGeom prst="rect">
              <a:avLst/>
            </a:prstGeom>
            <a:solidFill>
              <a:srgbClr val="4AC9E3">
                <a:alpha val="5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5754" tIns="15754" rIns="6564" bIns="6564" rtlCol="0" anchor="t" anchorCtr="0"/>
            <a:lstStyle/>
            <a:p>
              <a:pPr algn="ctr" eaLnBrk="1">
                <a:lnSpc>
                  <a:spcPct val="105000"/>
                </a:lnSpc>
              </a:pPr>
              <a:endParaRPr lang="en-US" sz="584" noProof="0">
                <a:solidFill>
                  <a:schemeClr val="tx1"/>
                </a:solidFill>
              </a:endParaRPr>
            </a:p>
          </p:txBody>
        </p:sp>
      </p:grpSp>
      <p:sp>
        <p:nvSpPr>
          <p:cNvPr id="42" name="violett 50%">
            <a:extLst>
              <a:ext uri="{FF2B5EF4-FFF2-40B4-BE49-F238E27FC236}">
                <a16:creationId xmlns:a16="http://schemas.microsoft.com/office/drawing/2014/main" id="{A9C6A51B-933B-403C-AF63-BFB7E51B819E}"/>
              </a:ext>
            </a:extLst>
          </p:cNvPr>
          <p:cNvSpPr/>
          <p:nvPr userDrawn="1"/>
        </p:nvSpPr>
        <p:spPr>
          <a:xfrm flipH="1">
            <a:off x="5830876" y="0"/>
            <a:ext cx="6361124" cy="68580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754" tIns="15754" rIns="6564" bIns="6564" rtlCol="0" anchor="t" anchorCtr="0"/>
          <a:lstStyle/>
          <a:p>
            <a:pPr algn="ctr" eaLnBrk="1">
              <a:lnSpc>
                <a:spcPct val="105000"/>
              </a:lnSpc>
            </a:pPr>
            <a:endParaRPr lang="en-US" sz="584" noProof="0">
              <a:solidFill>
                <a:schemeClr val="tx1"/>
              </a:solidFill>
            </a:endParaRPr>
          </a:p>
        </p:txBody>
      </p:sp>
      <p:sp>
        <p:nvSpPr>
          <p:cNvPr id="43" name="schwarz 50%">
            <a:extLst>
              <a:ext uri="{FF2B5EF4-FFF2-40B4-BE49-F238E27FC236}">
                <a16:creationId xmlns:a16="http://schemas.microsoft.com/office/drawing/2014/main" id="{1B7B2EB8-7A3E-4E4F-B660-A671E91CC0E1}"/>
              </a:ext>
            </a:extLst>
          </p:cNvPr>
          <p:cNvSpPr/>
          <p:nvPr userDrawn="1"/>
        </p:nvSpPr>
        <p:spPr>
          <a:xfrm flipH="1">
            <a:off x="869321" y="0"/>
            <a:ext cx="7208025" cy="6858000"/>
          </a:xfrm>
          <a:prstGeom prst="rect">
            <a:avLst/>
          </a:prstGeom>
          <a:solidFill>
            <a:srgbClr val="007398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754" tIns="15754" rIns="6564" bIns="6564" rtlCol="0" anchor="t" anchorCtr="0"/>
          <a:lstStyle/>
          <a:p>
            <a:pPr algn="ctr" eaLnBrk="1">
              <a:lnSpc>
                <a:spcPct val="105000"/>
              </a:lnSpc>
            </a:pPr>
            <a:endParaRPr lang="en-US" sz="584" noProof="0">
              <a:solidFill>
                <a:schemeClr val="tx1"/>
              </a:solidFill>
            </a:endParaRP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5BEC224B-75E7-410D-B373-AEA0179A6A1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 vert="horz" lIns="0" tIns="0" rIns="0" bIns="0" rtlCol="0">
            <a:normAutofit/>
          </a:bodyPr>
          <a:lstStyle>
            <a:lvl1pPr>
              <a:defRPr lang="de-DE" sz="2800" spc="0" dirty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53" name="Titel 1">
            <a:extLst>
              <a:ext uri="{FF2B5EF4-FFF2-40B4-BE49-F238E27FC236}">
                <a16:creationId xmlns:a16="http://schemas.microsoft.com/office/drawing/2014/main" id="{AFC30694-614C-45F9-A9ED-5A81EA283C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4" name="Textplatzhalter 5">
            <a:extLst>
              <a:ext uri="{FF2B5EF4-FFF2-40B4-BE49-F238E27FC236}">
                <a16:creationId xmlns:a16="http://schemas.microsoft.com/office/drawing/2014/main" id="{5BD2FC0D-BF93-4F92-8698-C94AFDF869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5241446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25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5" dur="30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30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9" dur="40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40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3" dur="40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40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7" dur="30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30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2" presetClass="exit" presetSubtype="2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1" dur="3000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3000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2" presetClass="exit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5" dur="20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20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2" presetClass="exit" presetSubtype="2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9" dur="30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30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2" presetClass="exit" presetSubtype="2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3" dur="20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20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2" presetClass="exit" presetSubtype="2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7" dur="30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30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2" presetClass="exit" presetSubtype="2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1" dur="30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30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2" presetClass="exit" presetSubtype="2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5" dur="2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2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2" presetClass="exit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9" dur="30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30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4" grpId="0" animBg="1"/>
      <p:bldP spid="25" grpId="0" animBg="1"/>
      <p:bldP spid="32" grpId="0" animBg="1"/>
      <p:bldP spid="33" grpId="0" animBg="1"/>
      <p:bldP spid="34" grpId="0" animBg="1"/>
      <p:bldP spid="35" grpId="0" animBg="1"/>
      <p:bldP spid="42" grpId="0" animBg="1"/>
      <p:bldP spid="43" grpId="0" animBg="1"/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25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Untertitel 2">
            <a:extLst>
              <a:ext uri="{FF2B5EF4-FFF2-40B4-BE49-F238E27FC236}">
                <a16:creationId xmlns:a16="http://schemas.microsoft.com/office/drawing/2014/main" id="{BC80ADB3-A155-44CA-A145-0645A0E40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1F3611A6-C50B-4FCF-A816-1150939218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FB0D66A4-F0C9-4ED7-84E1-29B894AB87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1579376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-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958A507-DAFA-42BF-8849-C3CB4289A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1074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3" imgH="416" progId="TCLayout.ActiveDocument.1">
                  <p:embed/>
                </p:oleObj>
              </mc:Choice>
              <mc:Fallback>
                <p:oleObj name="think-cell Slide" r:id="rId4" imgW="413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958A507-DAFA-42BF-8849-C3CB4289A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02DE261-04CD-4B94-BD88-3E91949FEA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ot">
            <a:extLst>
              <a:ext uri="{FF2B5EF4-FFF2-40B4-BE49-F238E27FC236}">
                <a16:creationId xmlns:a16="http://schemas.microsoft.com/office/drawing/2014/main" id="{CB574361-3B97-4389-9DE0-5B25DFE5D667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585" tIns="26585" rIns="11077" bIns="11077" rtlCol="0" anchor="t" anchorCtr="0"/>
          <a:lstStyle/>
          <a:p>
            <a:pPr algn="ctr" eaLnBrk="1">
              <a:lnSpc>
                <a:spcPct val="105000"/>
              </a:lnSpc>
            </a:pPr>
            <a:endParaRPr lang="en-US" sz="986" noProof="0">
              <a:solidFill>
                <a:schemeClr val="tx1"/>
              </a:solidFill>
            </a:endParaRPr>
          </a:p>
        </p:txBody>
      </p:sp>
      <p:sp>
        <p:nvSpPr>
          <p:cNvPr id="9" name="hellrot">
            <a:extLst>
              <a:ext uri="{FF2B5EF4-FFF2-40B4-BE49-F238E27FC236}">
                <a16:creationId xmlns:a16="http://schemas.microsoft.com/office/drawing/2014/main" id="{C6366DF7-9E3E-4DFD-BC00-8921066868C2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E03E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3038" noProof="0"/>
          </a:p>
        </p:txBody>
      </p:sp>
      <p:sp>
        <p:nvSpPr>
          <p:cNvPr id="10" name="dunkelrot">
            <a:extLst>
              <a:ext uri="{FF2B5EF4-FFF2-40B4-BE49-F238E27FC236}">
                <a16:creationId xmlns:a16="http://schemas.microsoft.com/office/drawing/2014/main" id="{49C62A64-95AD-449A-AE83-8769CF5416E3}"/>
              </a:ext>
            </a:extLst>
          </p:cNvPr>
          <p:cNvSpPr/>
          <p:nvPr userDrawn="1"/>
        </p:nvSpPr>
        <p:spPr>
          <a:xfrm>
            <a:off x="-600" y="0"/>
            <a:ext cx="121932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3038" noProof="0"/>
          </a:p>
        </p:txBody>
      </p:sp>
      <p:sp>
        <p:nvSpPr>
          <p:cNvPr id="11" name="rot">
            <a:extLst>
              <a:ext uri="{FF2B5EF4-FFF2-40B4-BE49-F238E27FC236}">
                <a16:creationId xmlns:a16="http://schemas.microsoft.com/office/drawing/2014/main" id="{74E6412B-E7DD-4AF8-A8F2-7131EEA7149B}"/>
              </a:ext>
            </a:extLst>
          </p:cNvPr>
          <p:cNvSpPr/>
          <p:nvPr userDrawn="1"/>
        </p:nvSpPr>
        <p:spPr>
          <a:xfrm>
            <a:off x="-1200" y="0"/>
            <a:ext cx="121932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585" tIns="26585" rIns="11077" bIns="11077" rtlCol="0" anchor="t" anchorCtr="0"/>
          <a:lstStyle/>
          <a:p>
            <a:pPr algn="ctr" eaLnBrk="1">
              <a:lnSpc>
                <a:spcPct val="105000"/>
              </a:lnSpc>
            </a:pPr>
            <a:endParaRPr lang="en-US" sz="986" noProof="0">
              <a:solidFill>
                <a:schemeClr val="tx1"/>
              </a:solidFill>
            </a:endParaRP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6D9BA064-8BEC-4E18-9E5F-8638A855F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D6484004-B62C-415E-B446-0AE6DF1C13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F2F5208C-51E6-4F23-8234-0200112DC9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7281682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4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4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0" nodeType="withEffect">
                                  <p:stCondLst>
                                    <p:cond delay="8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4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30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- Image placeho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4A1571-31A7-4DD8-ABA6-4621A4E6C5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7849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4A1571-31A7-4DD8-ABA6-4621A4E6C5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C28AF1-92A1-468C-B1F6-04E7F64F14B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BFA8B18D-0993-4FE7-94F1-3D50CD3196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7999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BB76BB7C-9EB3-4744-8A8A-530012181A0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7000EE5F-C97B-45D9-8069-074DD5C073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AA0A45D0-BDC6-47F2-9430-5D76DAC38F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8735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9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30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C00460-B3CB-4570-89E6-0E2BEAED7D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016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C00460-B3CB-4570-89E6-0E2BEAED7D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7DD112-0CE0-4C90-A8A6-710CBF7530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BB76BB7C-9EB3-4744-8A8A-530012181A0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add subtitle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7000EE5F-C97B-45D9-8069-074DD5C073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AB05F9C-BC44-4723-9206-5F426E4BA32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8606" y="524356"/>
            <a:ext cx="1543624" cy="51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6046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9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30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F51874F-67F5-42E4-934A-9B7E96BC2D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631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F51874F-67F5-42E4-934A-9B7E96BC2D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844B671-E447-4191-8505-43D101A81B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265B5FEF-D611-49E4-9D72-DA783A54B82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9F6ACA-541A-4611-BF73-5A5116CCCEF2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A915E5C5-0F3C-40B6-AE60-181785B7E6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1C4F4A70-2809-4CD1-9143-651E3C7A55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B89318-A586-4C32-A8CF-CBF1D042A1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3302016"/>
      </p:ext>
    </p:extLst>
  </p:cSld>
  <p:clrMapOvr>
    <a:masterClrMapping/>
  </p:clrMapOvr>
  <p:transition spd="slow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624FB37B-3025-4DE4-9926-B6DFCC0B1C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624FB37B-3025-4DE4-9926-B6DFCC0B1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A53803A-858A-4ABA-ACA8-350C727362D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3110B0BD-4F20-4AD2-A47E-04397F684BE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C2FBF6A0-2A98-4272-801F-E5E5C8A9330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342720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521F19F4-0081-405A-9FFC-547D935336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063800" y="342720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71EDF6C2-AA7D-4F89-A67F-8717496E07C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7600" y="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1396492-B460-420D-A8AE-A4D8D0B3E3F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27600" y="342720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9C5461-D5EA-4602-ABFD-1AB77F41D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DE7ED74-CE7B-4C24-A77C-517CCBBD3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- Do not duplicate or distribute without written permission from Nobel Biocar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2B3C37-C8E0-45AA-8EEB-A47F4840C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EF5BD2D1-6604-482B-B501-CC3B55774AD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63800" y="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3CABFA-1BF9-438F-8452-5E6A60B02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0979559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57">
          <p15:clr>
            <a:srgbClr val="FBAE40"/>
          </p15:clr>
        </p15:guide>
        <p15:guide id="4" pos="511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66E700E-736B-9242-98E3-3819F6F6A33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7FCEEC-0D90-4D99-84C3-1BA15F089C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6222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20" imgH="429" progId="TCLayout.ActiveDocument.1">
                  <p:embed/>
                </p:oleObj>
              </mc:Choice>
              <mc:Fallback>
                <p:oleObj name="think-cell Folie" r:id="rId5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7FCEEC-0D90-4D99-84C3-1BA15F089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E4F6CE-F90A-4909-A94B-E78C7877F25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DF5D34B-0283-4D01-B492-5FEAE9C035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3401276"/>
            <a:ext cx="5616576" cy="140876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800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add subtit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7C1E203-03F3-45D4-B40C-A97FDCB607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561875"/>
            <a:ext cx="5616577" cy="2603605"/>
          </a:xfrm>
        </p:spPr>
        <p:txBody>
          <a:bodyPr vert="horz" anchor="b">
            <a:normAutofit/>
          </a:bodyPr>
          <a:lstStyle>
            <a:lvl1pPr algn="l">
              <a:lnSpc>
                <a:spcPct val="90000"/>
              </a:lnSpc>
              <a:defRPr sz="6600" kern="0" cap="none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714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66E700E-736B-9242-98E3-3819F6F6A33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7FCEEC-0D90-4D99-84C3-1BA15F089C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4237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20" imgH="429" progId="TCLayout.ActiveDocument.1">
                  <p:embed/>
                </p:oleObj>
              </mc:Choice>
              <mc:Fallback>
                <p:oleObj name="think-cell Folie" r:id="rId5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7FCEEC-0D90-4D99-84C3-1BA15F089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E4F6CE-F90A-4909-A94B-E78C7877F25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DF5D34B-0283-4D01-B492-5FEAE9C035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3401276"/>
            <a:ext cx="5616576" cy="140876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800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add subtit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7C1E203-03F3-45D4-B40C-A97FDCB607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561875"/>
            <a:ext cx="5616577" cy="2603605"/>
          </a:xfrm>
        </p:spPr>
        <p:txBody>
          <a:bodyPr vert="horz" anchor="b">
            <a:normAutofit/>
          </a:bodyPr>
          <a:lstStyle>
            <a:lvl1pPr algn="l">
              <a:lnSpc>
                <a:spcPct val="90000"/>
              </a:lnSpc>
              <a:defRPr sz="6600" kern="0" cap="none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81685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66E700E-736B-9242-98E3-3819F6F6A33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7FCEEC-0D90-4D99-84C3-1BA15F089C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491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20" imgH="429" progId="TCLayout.ActiveDocument.1">
                  <p:embed/>
                </p:oleObj>
              </mc:Choice>
              <mc:Fallback>
                <p:oleObj name="think-cell Folie" r:id="rId5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7FCEEC-0D90-4D99-84C3-1BA15F089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E4F6CE-F90A-4909-A94B-E78C7877F25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DF5D34B-0283-4D01-B492-5FEAE9C035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3401276"/>
            <a:ext cx="5616576" cy="140876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800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add subtit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7C1E203-03F3-45D4-B40C-A97FDCB607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561875"/>
            <a:ext cx="5616577" cy="2603605"/>
          </a:xfrm>
        </p:spPr>
        <p:txBody>
          <a:bodyPr vert="horz" anchor="b">
            <a:normAutofit/>
          </a:bodyPr>
          <a:lstStyle>
            <a:lvl1pPr algn="l">
              <a:lnSpc>
                <a:spcPct val="90000"/>
              </a:lnSpc>
              <a:defRPr sz="6600" kern="0" cap="none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52001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4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66E700E-736B-9242-98E3-3819F6F6A33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7FCEEC-0D90-4D99-84C3-1BA15F089C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3897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20" imgH="429" progId="TCLayout.ActiveDocument.1">
                  <p:embed/>
                </p:oleObj>
              </mc:Choice>
              <mc:Fallback>
                <p:oleObj name="think-cell Folie" r:id="rId5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7FCEEC-0D90-4D99-84C3-1BA15F089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E4F6CE-F90A-4909-A94B-E78C7877F25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DF5D34B-0283-4D01-B492-5FEAE9C035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3401276"/>
            <a:ext cx="5616576" cy="140876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800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add subtit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7C1E203-03F3-45D4-B40C-A97FDCB607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561875"/>
            <a:ext cx="5616577" cy="2603605"/>
          </a:xfrm>
        </p:spPr>
        <p:txBody>
          <a:bodyPr vert="horz" anchor="b">
            <a:normAutofit/>
          </a:bodyPr>
          <a:lstStyle>
            <a:lvl1pPr algn="l">
              <a:lnSpc>
                <a:spcPct val="90000"/>
              </a:lnSpc>
              <a:defRPr sz="6600" kern="0" cap="none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80697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5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66E700E-736B-9242-98E3-3819F6F6A33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7FCEEC-0D90-4D99-84C3-1BA15F089C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3629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20" imgH="429" progId="TCLayout.ActiveDocument.1">
                  <p:embed/>
                </p:oleObj>
              </mc:Choice>
              <mc:Fallback>
                <p:oleObj name="think-cell Folie" r:id="rId5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7FCEEC-0D90-4D99-84C3-1BA15F089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E4F6CE-F90A-4909-A94B-E78C7877F25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DF5D34B-0283-4D01-B492-5FEAE9C035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5" y="5091180"/>
            <a:ext cx="5616576" cy="140876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800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add subtit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7C1E203-03F3-45D4-B40C-A97FDCB607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2251779"/>
            <a:ext cx="5616577" cy="2603605"/>
          </a:xfrm>
        </p:spPr>
        <p:txBody>
          <a:bodyPr vert="horz" anchor="b">
            <a:normAutofit/>
          </a:bodyPr>
          <a:lstStyle>
            <a:lvl1pPr algn="l">
              <a:lnSpc>
                <a:spcPct val="90000"/>
              </a:lnSpc>
              <a:defRPr sz="6600" kern="0" cap="none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71875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er 1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7DDBE954-0912-6F42-B61B-86464A44C5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19136" r="13296" b="771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7FCEEC-0D90-4D99-84C3-1BA15F089C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183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20" imgH="429" progId="TCLayout.ActiveDocument.1">
                  <p:embed/>
                </p:oleObj>
              </mc:Choice>
              <mc:Fallback>
                <p:oleObj name="think-cell Folie" r:id="rId5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7FCEEC-0D90-4D99-84C3-1BA15F089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E4F6CE-F90A-4909-A94B-E78C7877F25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7C1E203-03F3-45D4-B40C-A97FDCB607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3595" y="1770927"/>
            <a:ext cx="3756911" cy="4473419"/>
          </a:xfrm>
        </p:spPr>
        <p:txBody>
          <a:bodyPr vert="horz" anchor="b">
            <a:normAutofit/>
          </a:bodyPr>
          <a:lstStyle>
            <a:lvl1pPr algn="l">
              <a:lnSpc>
                <a:spcPct val="90000"/>
              </a:lnSpc>
              <a:defRPr sz="6600" kern="0" cap="none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C503816-6BB2-3D4A-848A-B42C6072BF8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312230" y="540005"/>
            <a:ext cx="1533600" cy="5112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B362C14-D929-0A45-9C35-0DDCDE5B34D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1083" y="1198703"/>
            <a:ext cx="3378200" cy="30099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B61E849-AB86-874F-9FA6-BDFDF357E63F}"/>
              </a:ext>
            </a:extLst>
          </p:cNvPr>
          <p:cNvSpPr txBox="1"/>
          <p:nvPr userDrawn="1"/>
        </p:nvSpPr>
        <p:spPr>
          <a:xfrm>
            <a:off x="-34724" y="-19677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863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er 2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3051DD0-2C33-314D-B37A-0D02A7938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5401" r="13045" b="1734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D44DA65-6979-9A42-B193-A0D855FED2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1083" y="1198703"/>
            <a:ext cx="3378200" cy="300990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7FCEEC-0D90-4D99-84C3-1BA15F089C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1902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420" imgH="429" progId="TCLayout.ActiveDocument.1">
                  <p:embed/>
                </p:oleObj>
              </mc:Choice>
              <mc:Fallback>
                <p:oleObj name="think-cell Folie" r:id="rId6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7FCEEC-0D90-4D99-84C3-1BA15F089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E4F6CE-F90A-4909-A94B-E78C7877F25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7C1E203-03F3-45D4-B40C-A97FDCB607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62045" y="540005"/>
            <a:ext cx="3378201" cy="3453262"/>
          </a:xfrm>
        </p:spPr>
        <p:txBody>
          <a:bodyPr vert="horz" anchor="b">
            <a:normAutofit/>
          </a:bodyPr>
          <a:lstStyle>
            <a:lvl1pPr algn="l">
              <a:lnSpc>
                <a:spcPct val="90000"/>
              </a:lnSpc>
              <a:defRPr sz="6600" kern="0" cap="none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ake a break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22DA806-8687-6140-8076-61A6A14EF91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312230" y="540005"/>
            <a:ext cx="1533600" cy="51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837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ation or key messag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D23E2CC-C5D8-964B-9460-F02D0644E57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481" y="575883"/>
            <a:ext cx="10803038" cy="591058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7FCEEC-0D90-4D99-84C3-1BA15F089C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3847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20" imgH="429" progId="TCLayout.ActiveDocument.1">
                  <p:embed/>
                </p:oleObj>
              </mc:Choice>
              <mc:Fallback>
                <p:oleObj name="think-cell Folie" r:id="rId5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7FCEEC-0D90-4D99-84C3-1BA15F089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E4F6CE-F90A-4909-A94B-E78C7877F25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7C1E203-03F3-45D4-B40C-A97FDCB607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22385" y="1702369"/>
            <a:ext cx="8947230" cy="3453262"/>
          </a:xfrm>
        </p:spPr>
        <p:txBody>
          <a:bodyPr vert="horz" anchor="ctr" anchorCtr="0">
            <a:normAutofit/>
          </a:bodyPr>
          <a:lstStyle>
            <a:lvl1pPr algn="l">
              <a:lnSpc>
                <a:spcPct val="90000"/>
              </a:lnSpc>
              <a:defRPr sz="6600" kern="0" cap="none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Quotation or key takeaway message</a:t>
            </a:r>
          </a:p>
        </p:txBody>
      </p:sp>
    </p:spTree>
    <p:extLst>
      <p:ext uri="{BB962C8B-B14F-4D97-AF65-F5344CB8AC3E}">
        <p14:creationId xmlns:p14="http://schemas.microsoft.com/office/powerpoint/2010/main" val="254811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- Image placeho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4A1571-31A7-4DD8-ABA6-4621A4E6C5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207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0" imgH="429" progId="TCLayout.ActiveDocument.1">
                  <p:embed/>
                </p:oleObj>
              </mc:Choice>
              <mc:Fallback>
                <p:oleObj name="think-cell Folie" r:id="rId4" imgW="420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4A1571-31A7-4DD8-ABA6-4621A4E6C5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C28AF1-92A1-468C-B1F6-04E7F64F14B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BFA8B18D-0993-4FE7-94F1-3D50CD3196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7999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BB76BB7C-9EB3-4744-8A8A-530012181A0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7000EE5F-C97B-45D9-8069-074DD5C073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AA0A45D0-BDC6-47F2-9430-5D76DAC38F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79375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43413B-18DD-49AB-B681-302FC2C2C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3473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43413B-18DD-49AB-B681-302FC2C2C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C2FC1F4-0A24-48B8-9662-BA5C606A3E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7F693E3-7006-45FD-8D55-73813DE0AC0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03949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D26B49F-CCAE-47BE-A80D-261564C756D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47BD3E9-893D-4CCD-8A9B-98022F943EDF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01E7ED81-0E0C-4A0A-998F-99763A037D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80B02F72-F34A-462E-B197-A7FEC330C3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E1DCDD-6CB4-4CD0-9F6C-DB6B62579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5665453"/>
      </p:ext>
    </p:extLst>
  </p:cSld>
  <p:clrMapOvr>
    <a:masterClrMapping/>
  </p:clrMapOvr>
  <p:transition spd="slow">
    <p:wip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C00460-B3CB-4570-89E6-0E2BEAED7D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7264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0" imgH="429" progId="TCLayout.ActiveDocument.1">
                  <p:embed/>
                </p:oleObj>
              </mc:Choice>
              <mc:Fallback>
                <p:oleObj name="think-cell Folie" r:id="rId4" imgW="420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C00460-B3CB-4570-89E6-0E2BEAED7D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7DD112-0CE0-4C90-A8A6-710CBF7530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BB76BB7C-9EB3-4744-8A8A-530012181A0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add subtitle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7000EE5F-C97B-45D9-8069-074DD5C073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6600" kern="0" cap="none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AB05F9C-BC44-4723-9206-5F426E4BA32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8606" y="524356"/>
            <a:ext cx="1543624" cy="51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29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F62BB54-9E74-4073-B5B8-25A0DDC01D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5625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0" imgH="429" progId="TCLayout.ActiveDocument.1">
                  <p:embed/>
                </p:oleObj>
              </mc:Choice>
              <mc:Fallback>
                <p:oleObj name="think-cell Folie" r:id="rId4" imgW="420" imgH="429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F62BB54-9E74-4073-B5B8-25A0DDC01D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6BD4750-C10D-44A8-9459-858D99CD01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98259268-9714-44CC-A2C7-58556D4CFF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50A316F3-A2DE-46B4-92AA-BF11BC6F5FFA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03950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5E039-43B5-47F3-B6B5-2744629A9262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570A601F-2523-40F6-8DC4-DE4C58EFCBC4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9DA597B-3437-4983-ADA1-C0A2EFFC6D5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0760B3-7C3D-4AA1-95E9-A5AE83B9C75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F5707BF-C0FF-4488-BFC1-DCE99B0B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0699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F51874F-67F5-42E4-934A-9B7E96BC2D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8969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0" imgH="429" progId="TCLayout.ActiveDocument.1">
                  <p:embed/>
                </p:oleObj>
              </mc:Choice>
              <mc:Fallback>
                <p:oleObj name="think-cell Folie" r:id="rId4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F51874F-67F5-42E4-934A-9B7E96BC2D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844B671-E447-4191-8505-43D101A81B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265B5FEF-D611-49E4-9D72-DA783A54B82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61C2A15-E057-4198-9AD0-EB3E225197DF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A915E5C5-0F3C-40B6-AE60-181785B7E6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1C4F4A70-2809-4CD1-9143-651E3C7A55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B89318-A586-4C32-A8CF-CBF1D042A1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702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43413B-18DD-49AB-B681-302FC2C2C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4643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0" imgH="429" progId="TCLayout.ActiveDocument.1">
                  <p:embed/>
                </p:oleObj>
              </mc:Choice>
              <mc:Fallback>
                <p:oleObj name="think-cell Folie" r:id="rId4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43413B-18DD-49AB-B681-302FC2C2C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C2FC1F4-0A24-48B8-9662-BA5C606A3E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7F693E3-7006-45FD-8D55-73813DE0AC0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03949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D26B49F-CCAE-47BE-A80D-261564C756D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2DAB6C2-022F-4461-A23C-9BBCAC862971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01E7ED81-0E0C-4A0A-998F-99763A037D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80B02F72-F34A-462E-B197-A7FEC330C3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E1DCDD-6CB4-4CD0-9F6C-DB6B62579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9321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2D536AB-C999-4AE1-B600-8E88F18242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8148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0" imgH="429" progId="TCLayout.ActiveDocument.1">
                  <p:embed/>
                </p:oleObj>
              </mc:Choice>
              <mc:Fallback>
                <p:oleObj name="think-cell Folie" r:id="rId4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2D536AB-C999-4AE1-B600-8E88F18242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2F73D4F-BA64-453A-BF3A-360ED3B41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3600000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7F693E3-7006-45FD-8D55-73813DE0AC0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6225" y="1700213"/>
            <a:ext cx="3600000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5CC9C9F-47FD-492D-9A6E-4201CAFC57F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12125" y="1700213"/>
            <a:ext cx="3600000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464C2EE-DD9B-490A-A158-0A632398521A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F25103-6B92-4A7E-878E-E6358C34A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2506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01">
          <p15:clr>
            <a:srgbClr val="FBAE40"/>
          </p15:clr>
        </p15:guide>
        <p15:guide id="2" pos="2576">
          <p15:clr>
            <a:srgbClr val="FBAE40"/>
          </p15:clr>
        </p15:guide>
        <p15:guide id="3" pos="4982">
          <p15:clr>
            <a:srgbClr val="FBAE40"/>
          </p15:clr>
        </p15:guide>
        <p15:guide id="4" pos="510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476251"/>
            <a:ext cx="3600000" cy="5616574"/>
          </a:xfrm>
        </p:spPr>
        <p:txBody>
          <a:bodyPr rIns="18000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2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20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 bene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1192624-FA7E-4844-8350-45D47C7C07DA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E916EED-C1C0-4C07-8ADE-F30C7E09591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6380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760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74643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61">
          <p15:clr>
            <a:srgbClr val="FBAE40"/>
          </p15:clr>
        </p15:guide>
        <p15:guide id="3" pos="511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g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01C58CC4-9A2F-4A3D-933B-A14A076D6102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E44522B2-F06F-46A4-B67B-A54ECCA8166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4" y="476251"/>
            <a:ext cx="5508625" cy="5616574"/>
          </a:xfrm>
        </p:spPr>
        <p:txBody>
          <a:bodyPr rIns="180000"/>
          <a:lstStyle>
            <a:lvl1pPr>
              <a:lnSpc>
                <a:spcPct val="100000"/>
              </a:lnSpc>
              <a:defRPr lang="de-DE" sz="48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32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 bene</a:t>
            </a:r>
          </a:p>
          <a:p>
            <a:pPr lvl="4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0329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g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3C6ADE8-2C4E-47BD-8541-AB85D34DD167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0E8182E1-0AC6-4F46-B3FB-54439F2539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4" y="476251"/>
            <a:ext cx="5508625" cy="5616574"/>
          </a:xfrm>
        </p:spPr>
        <p:txBody>
          <a:bodyPr rIns="180000"/>
          <a:lstStyle>
            <a:lvl1pPr>
              <a:lnSpc>
                <a:spcPct val="100000"/>
              </a:lnSpc>
              <a:defRPr lang="de-DE" sz="48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32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 bene</a:t>
            </a:r>
          </a:p>
          <a:p>
            <a:pPr lvl="4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4346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A0A741E-6018-49E9-B756-97FF3C8EB2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0296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0" imgH="429" progId="TCLayout.ActiveDocument.1">
                  <p:embed/>
                </p:oleObj>
              </mc:Choice>
              <mc:Fallback>
                <p:oleObj name="think-cell Folie" r:id="rId4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A0A741E-6018-49E9-B756-97FF3C8EB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89668B7-F416-4A25-8559-DF9C5F2C4ED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C05605C-E1E9-4476-B25F-F260CEF7674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8B14228-3587-48F6-9491-C35EE36E5B11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394DA46-FC2A-48B3-A731-FC73E7B2A5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6557652-012C-42D4-B4F4-BBCDB60FED5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147BF4-3128-449E-826A-B3A1941E8D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441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47F837E3-A352-47C5-896C-79CE216855B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AC3C43F-8BD2-4AF3-867A-B58A937A5CD1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DCD2D3E1-BF04-49BA-9ABD-16507134B3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510596DF-A0CD-4CBF-B29B-072B676B80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92173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2D536AB-C999-4AE1-B600-8E88F18242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530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2D536AB-C999-4AE1-B600-8E88F18242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2F73D4F-BA64-453A-BF3A-360ED3B41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3600000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7F693E3-7006-45FD-8D55-73813DE0AC0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6225" y="1700213"/>
            <a:ext cx="3600000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5CC9C9F-47FD-492D-9A6E-4201CAFC57F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12125" y="1700213"/>
            <a:ext cx="3600000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BCDA0E1-AAF7-44BC-9EAF-26E85CD6175B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F25103-6B92-4A7E-878E-E6358C34A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4550029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2701" userDrawn="1">
          <p15:clr>
            <a:srgbClr val="FBAE40"/>
          </p15:clr>
        </p15:guide>
        <p15:guide id="2" pos="2576" userDrawn="1">
          <p15:clr>
            <a:srgbClr val="FBAE40"/>
          </p15:clr>
        </p15:guide>
        <p15:guide id="3" pos="4982" userDrawn="1">
          <p15:clr>
            <a:srgbClr val="FBAE40"/>
          </p15:clr>
        </p15:guide>
        <p15:guide id="4" pos="5106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ize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DB96936-4807-4578-8EB2-6ECD168BFE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3603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0" imgH="429" progId="TCLayout.ActiveDocument.1">
                  <p:embed/>
                </p:oleObj>
              </mc:Choice>
              <mc:Fallback>
                <p:oleObj name="think-cell Folie" r:id="rId4" imgW="420" imgH="42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DB96936-4807-4578-8EB2-6ECD168BFE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441FDCE-2983-41C6-8A78-57C9BD2AA6E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3110B0BD-4F20-4AD2-A47E-04397F684BE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9C5461-D5EA-4602-ABFD-1AB77F41D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54CC2-41C5-46BB-B967-0ECAE38980AE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DE7ED74-CE7B-4C24-A77C-517CCBBD3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2B3C37-C8E0-45AA-8EEB-A47F4840C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7F05EA4-D3CA-42BD-BE16-DE4F10B14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280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624FB37B-3025-4DE4-9926-B6DFCC0B1C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5648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0" imgH="429" progId="TCLayout.ActiveDocument.1">
                  <p:embed/>
                </p:oleObj>
              </mc:Choice>
              <mc:Fallback>
                <p:oleObj name="think-cell Folie" r:id="rId4" imgW="420" imgH="429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624FB37B-3025-4DE4-9926-B6DFCC0B1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A53803A-858A-4ABA-ACA8-350C727362D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3110B0BD-4F20-4AD2-A47E-04397F684BE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C2FBF6A0-2A98-4272-801F-E5E5C8A9330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342720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521F19F4-0081-405A-9FFC-547D935336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063800" y="342720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71EDF6C2-AA7D-4F89-A67F-8717496E07C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7600" y="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1396492-B460-420D-A8AE-A4D8D0B3E3F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27600" y="342720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9C5461-D5EA-4602-ABFD-1AB77F41D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17856A-B1A9-44D9-8D16-BE72EC49B36F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DE7ED74-CE7B-4C24-A77C-517CCBBD3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2B3C37-C8E0-45AA-8EEB-A47F4840C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EF5BD2D1-6604-482B-B501-CC3B55774AD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63800" y="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3CABFA-1BF9-438F-8452-5E6A60B02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7099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57">
          <p15:clr>
            <a:srgbClr val="FBAE40"/>
          </p15:clr>
        </p15:guide>
        <p15:guide id="4" pos="511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enter title">
  <p:cSld name="Center title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35"/>
          <p:cNvSpPr txBox="1">
            <a:spLocks noGrp="1"/>
          </p:cNvSpPr>
          <p:nvPr>
            <p:ph type="title"/>
          </p:nvPr>
        </p:nvSpPr>
        <p:spPr>
          <a:xfrm>
            <a:off x="620979" y="1717281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148" name="Google Shape;148;p35"/>
          <p:cNvSpPr txBox="1">
            <a:spLocks noGrp="1"/>
          </p:cNvSpPr>
          <p:nvPr>
            <p:ph type="subTitle" idx="1"/>
          </p:nvPr>
        </p:nvSpPr>
        <p:spPr>
          <a:xfrm>
            <a:off x="620984" y="3456365"/>
            <a:ext cx="5393600" cy="62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B6FF"/>
              </a:buClr>
              <a:buSzPts val="1800"/>
              <a:buFont typeface="Roboto Black"/>
              <a:buNone/>
              <a:defRPr sz="2400">
                <a:solidFill>
                  <a:srgbClr val="80B6FF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B6FF"/>
              </a:buClr>
              <a:buSzPts val="1800"/>
              <a:buFont typeface="Roboto Black"/>
              <a:buNone/>
              <a:defRPr sz="2400">
                <a:solidFill>
                  <a:srgbClr val="80B6FF"/>
                </a:solidFill>
                <a:latin typeface="Roboto Black"/>
                <a:ea typeface="Roboto Black"/>
                <a:cs typeface="Roboto Black"/>
                <a:sym typeface="Roboto Black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B6FF"/>
              </a:buClr>
              <a:buSzPts val="1800"/>
              <a:buFont typeface="Roboto Black"/>
              <a:buNone/>
              <a:defRPr sz="2400">
                <a:solidFill>
                  <a:srgbClr val="80B6FF"/>
                </a:solidFill>
                <a:latin typeface="Roboto Black"/>
                <a:ea typeface="Roboto Black"/>
                <a:cs typeface="Roboto Black"/>
                <a:sym typeface="Roboto Black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B6FF"/>
              </a:buClr>
              <a:buSzPts val="1800"/>
              <a:buFont typeface="Roboto Black"/>
              <a:buNone/>
              <a:defRPr sz="2400">
                <a:solidFill>
                  <a:srgbClr val="80B6FF"/>
                </a:solidFill>
                <a:latin typeface="Roboto Black"/>
                <a:ea typeface="Roboto Black"/>
                <a:cs typeface="Roboto Black"/>
                <a:sym typeface="Roboto Black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B6FF"/>
              </a:buClr>
              <a:buSzPts val="1800"/>
              <a:buFont typeface="Roboto Black"/>
              <a:buNone/>
              <a:defRPr sz="2400">
                <a:solidFill>
                  <a:srgbClr val="80B6FF"/>
                </a:solidFill>
                <a:latin typeface="Roboto Black"/>
                <a:ea typeface="Roboto Black"/>
                <a:cs typeface="Roboto Black"/>
                <a:sym typeface="Roboto Black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B6FF"/>
              </a:buClr>
              <a:buSzPts val="1800"/>
              <a:buFont typeface="Roboto Black"/>
              <a:buNone/>
              <a:defRPr sz="2400">
                <a:solidFill>
                  <a:srgbClr val="80B6FF"/>
                </a:solidFill>
                <a:latin typeface="Roboto Black"/>
                <a:ea typeface="Roboto Black"/>
                <a:cs typeface="Roboto Black"/>
                <a:sym typeface="Roboto Black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B6FF"/>
              </a:buClr>
              <a:buSzPts val="1800"/>
              <a:buFont typeface="Roboto Black"/>
              <a:buNone/>
              <a:defRPr sz="2400">
                <a:solidFill>
                  <a:srgbClr val="80B6FF"/>
                </a:solidFill>
                <a:latin typeface="Roboto Black"/>
                <a:ea typeface="Roboto Black"/>
                <a:cs typeface="Roboto Black"/>
                <a:sym typeface="Roboto Black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B6FF"/>
              </a:buClr>
              <a:buSzPts val="1800"/>
              <a:buFont typeface="Roboto Black"/>
              <a:buNone/>
              <a:defRPr sz="2400">
                <a:solidFill>
                  <a:srgbClr val="80B6FF"/>
                </a:solidFill>
                <a:latin typeface="Roboto Black"/>
                <a:ea typeface="Roboto Black"/>
                <a:cs typeface="Roboto Black"/>
                <a:sym typeface="Roboto Black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B6FF"/>
              </a:buClr>
              <a:buSzPts val="1800"/>
              <a:buFont typeface="Roboto Black"/>
              <a:buNone/>
              <a:defRPr sz="2400">
                <a:solidFill>
                  <a:srgbClr val="80B6FF"/>
                </a:solidFill>
                <a:latin typeface="Roboto Black"/>
                <a:ea typeface="Roboto Black"/>
                <a:cs typeface="Roboto Black"/>
                <a:sym typeface="Roboto Black"/>
              </a:defRPr>
            </a:lvl9pPr>
          </a:lstStyle>
          <a:p>
            <a:endParaRPr/>
          </a:p>
        </p:txBody>
      </p:sp>
      <p:sp>
        <p:nvSpPr>
          <p:cNvPr id="149" name="Google Shape;149;p35"/>
          <p:cNvSpPr txBox="1">
            <a:spLocks noGrp="1"/>
          </p:cNvSpPr>
          <p:nvPr>
            <p:ph type="body" idx="2"/>
          </p:nvPr>
        </p:nvSpPr>
        <p:spPr>
          <a:xfrm>
            <a:off x="6586000" y="1061984"/>
            <a:ext cx="4897200" cy="473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99521" rtl="0">
              <a:spcBef>
                <a:spcPts val="0"/>
              </a:spcBef>
              <a:spcAft>
                <a:spcPts val="0"/>
              </a:spcAft>
              <a:buSzPts val="2300"/>
              <a:buChar char="●"/>
              <a:defRPr/>
            </a:lvl1pPr>
            <a:lvl2pPr marL="1219170" lvl="1" indent="-499521" rtl="0">
              <a:spcBef>
                <a:spcPts val="3067"/>
              </a:spcBef>
              <a:spcAft>
                <a:spcPts val="0"/>
              </a:spcAft>
              <a:buSzPts val="2300"/>
              <a:buChar char="•"/>
              <a:defRPr/>
            </a:lvl2pPr>
            <a:lvl3pPr marL="1828754" lvl="2" indent="-499521" rtl="0">
              <a:spcBef>
                <a:spcPts val="3067"/>
              </a:spcBef>
              <a:spcAft>
                <a:spcPts val="0"/>
              </a:spcAft>
              <a:buSzPts val="2300"/>
              <a:buChar char="■"/>
              <a:defRPr/>
            </a:lvl3pPr>
            <a:lvl4pPr marL="2438339" lvl="3" indent="-499521" rtl="0">
              <a:spcBef>
                <a:spcPts val="3067"/>
              </a:spcBef>
              <a:spcAft>
                <a:spcPts val="0"/>
              </a:spcAft>
              <a:buSzPts val="2300"/>
              <a:buChar char="●"/>
              <a:defRPr/>
            </a:lvl4pPr>
            <a:lvl5pPr marL="3047924" lvl="4" indent="-499521" rtl="0">
              <a:spcBef>
                <a:spcPts val="3067"/>
              </a:spcBef>
              <a:spcAft>
                <a:spcPts val="0"/>
              </a:spcAft>
              <a:buSzPts val="2300"/>
              <a:buChar char="○"/>
              <a:defRPr/>
            </a:lvl5pPr>
            <a:lvl6pPr marL="3657509" lvl="5" indent="-499521" rtl="0">
              <a:spcBef>
                <a:spcPts val="3067"/>
              </a:spcBef>
              <a:spcAft>
                <a:spcPts val="0"/>
              </a:spcAft>
              <a:buSzPts val="2300"/>
              <a:buChar char="■"/>
              <a:defRPr/>
            </a:lvl6pPr>
            <a:lvl7pPr marL="4267093" lvl="6" indent="-499521" rtl="0">
              <a:spcBef>
                <a:spcPts val="3067"/>
              </a:spcBef>
              <a:spcAft>
                <a:spcPts val="0"/>
              </a:spcAft>
              <a:buSzPts val="2300"/>
              <a:buChar char="●"/>
              <a:defRPr/>
            </a:lvl7pPr>
            <a:lvl8pPr marL="4876678" lvl="7" indent="-499521" rtl="0">
              <a:spcBef>
                <a:spcPts val="3067"/>
              </a:spcBef>
              <a:spcAft>
                <a:spcPts val="0"/>
              </a:spcAft>
              <a:buSzPts val="2300"/>
              <a:buChar char="○"/>
              <a:defRPr/>
            </a:lvl8pPr>
            <a:lvl9pPr marL="5486263" lvl="8" indent="-499521" rtl="0">
              <a:spcBef>
                <a:spcPts val="3067"/>
              </a:spcBef>
              <a:spcAft>
                <a:spcPts val="3067"/>
              </a:spcAft>
              <a:buSzPts val="2300"/>
              <a:buChar char="•"/>
              <a:defRPr/>
            </a:lvl9pPr>
          </a:lstStyle>
          <a:p>
            <a:endParaRPr/>
          </a:p>
        </p:txBody>
      </p:sp>
      <p:sp>
        <p:nvSpPr>
          <p:cNvPr id="150" name="Google Shape;150;p35"/>
          <p:cNvSpPr txBox="1">
            <a:spLocks noGrp="1"/>
          </p:cNvSpPr>
          <p:nvPr>
            <p:ph type="subTitle" idx="3"/>
          </p:nvPr>
        </p:nvSpPr>
        <p:spPr>
          <a:xfrm>
            <a:off x="652167" y="5795647"/>
            <a:ext cx="10830800" cy="43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DBDBD"/>
              </a:buClr>
              <a:buSzPts val="1100"/>
              <a:buNone/>
              <a:defRPr sz="1467">
                <a:solidFill>
                  <a:srgbClr val="BDBDBD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DBDBD"/>
              </a:buClr>
              <a:buSzPts val="1100"/>
              <a:buNone/>
              <a:defRPr sz="1467">
                <a:solidFill>
                  <a:srgbClr val="BDBDBD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DBDBD"/>
              </a:buClr>
              <a:buSzPts val="1100"/>
              <a:buNone/>
              <a:defRPr sz="1467">
                <a:solidFill>
                  <a:srgbClr val="BDBDBD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DBDBD"/>
              </a:buClr>
              <a:buSzPts val="1100"/>
              <a:buNone/>
              <a:defRPr sz="1467">
                <a:solidFill>
                  <a:srgbClr val="BDBDBD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DBDBD"/>
              </a:buClr>
              <a:buSzPts val="1100"/>
              <a:buNone/>
              <a:defRPr sz="1467">
                <a:solidFill>
                  <a:srgbClr val="BDBDBD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DBDBD"/>
              </a:buClr>
              <a:buSzPts val="1100"/>
              <a:buNone/>
              <a:defRPr sz="1467">
                <a:solidFill>
                  <a:srgbClr val="BDBDBD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DBDBD"/>
              </a:buClr>
              <a:buSzPts val="1100"/>
              <a:buNone/>
              <a:defRPr sz="1467">
                <a:solidFill>
                  <a:srgbClr val="BDBDBD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DBDBD"/>
              </a:buClr>
              <a:buSzPts val="1100"/>
              <a:buNone/>
              <a:defRPr sz="1467">
                <a:solidFill>
                  <a:srgbClr val="BDBDBD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DBDBD"/>
              </a:buClr>
              <a:buSzPts val="1100"/>
              <a:buNone/>
              <a:defRPr sz="1467">
                <a:solidFill>
                  <a:srgbClr val="BDBDBD"/>
                </a:solidFill>
              </a:defRPr>
            </a:lvl9pPr>
          </a:lstStyle>
          <a:p>
            <a:endParaRPr/>
          </a:p>
        </p:txBody>
      </p:sp>
      <p:sp>
        <p:nvSpPr>
          <p:cNvPr id="151" name="Google Shape;151;p35"/>
          <p:cNvSpPr txBox="1">
            <a:spLocks noGrp="1"/>
          </p:cNvSpPr>
          <p:nvPr>
            <p:ph type="sldNum" idx="12"/>
          </p:nvPr>
        </p:nvSpPr>
        <p:spPr>
          <a:xfrm>
            <a:off x="10748651" y="5796581"/>
            <a:ext cx="731600" cy="426800"/>
          </a:xfrm>
          <a:prstGeom prst="rect">
            <a:avLst/>
          </a:prstGeom>
        </p:spPr>
        <p:txBody>
          <a:bodyPr spcFirstLastPara="1" wrap="square" lIns="83825" tIns="83825" rIns="83825" bIns="83825" anchor="t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algn="r"/>
            <a:fld id="{00000000-1234-1234-1234-123412341234}" type="slidenum">
              <a:rPr lang="en-GB" smtClean="0"/>
              <a:pPr algn="r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06854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F62BB54-9E74-4073-B5B8-25A0DDC01D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214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F62BB54-9E74-4073-B5B8-25A0DDC01D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6BD4750-C10D-44A8-9459-858D99CD01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98259268-9714-44CC-A2C7-58556D4CFF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1700213"/>
            <a:ext cx="5508625" cy="4392612"/>
          </a:xfrm>
        </p:spPr>
        <p:txBody>
          <a:bodyPr lIns="50400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50A316F3-A2DE-46B4-92AA-BF11BC6F5FFA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203950" y="1700213"/>
            <a:ext cx="5508625" cy="4392612"/>
          </a:xfrm>
        </p:spPr>
        <p:txBody>
          <a:bodyPr lIns="50400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5E039-43B5-47F3-B6B5-2744629A9262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9DA597B-3437-4983-ADA1-C0A2EFFC6D5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0760B3-7C3D-4AA1-95E9-A5AE83B9C75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F5707BF-C0FF-4488-BFC1-DCE99B0B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CB97312-6264-4F4D-A613-3088B5A7769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005695"/>
      </p:ext>
    </p:extLst>
  </p:cSld>
  <p:clrMapOvr>
    <a:masterClrMapping/>
  </p:clrMapOvr>
  <p:transition spd="slow">
    <p:wip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F51874F-67F5-42E4-934A-9B7E96BC2D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6219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F51874F-67F5-42E4-934A-9B7E96BC2D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844B671-E447-4191-8505-43D101A81B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265B5FEF-D611-49E4-9D72-DA783A54B82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A915E5C5-0F3C-40B6-AE60-181785B7E6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1C4F4A70-2809-4CD1-9143-651E3C7A55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B89318-A586-4C32-A8CF-CBF1D042A1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8CF131EC-99F9-4377-A89E-A5944660AA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5354356"/>
      </p:ext>
    </p:extLst>
  </p:cSld>
  <p:clrMapOvr>
    <a:masterClrMapping/>
  </p:clrMapOvr>
  <p:transition spd="slow">
    <p:wip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43413B-18DD-49AB-B681-302FC2C2C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2137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43413B-18DD-49AB-B681-302FC2C2C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C2FC1F4-0A24-48B8-9662-BA5C606A3E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7F693E3-7006-45FD-8D55-73813DE0AC0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03949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D26B49F-CCAE-47BE-A80D-261564C756D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01E7ED81-0E0C-4A0A-998F-99763A037D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80B02F72-F34A-462E-B197-A7FEC330C3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E1DCDD-6CB4-4CD0-9F6C-DB6B62579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7CAE8CF-66B8-436E-A028-3ACD811A66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550852"/>
      </p:ext>
    </p:extLst>
  </p:cSld>
  <p:clrMapOvr>
    <a:masterClrMapping/>
  </p:clrMapOvr>
  <p:transition spd="slow">
    <p:wip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graph o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43413B-18DD-49AB-B681-302FC2C2C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8951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43413B-18DD-49AB-B681-302FC2C2C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C2FC1F4-0A24-48B8-9662-BA5C606A3E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D26B49F-CCAE-47BE-A80D-261564C756D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01E7ED81-0E0C-4A0A-998F-99763A037D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80B02F72-F34A-462E-B197-A7FEC330C3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E1DCDD-6CB4-4CD0-9F6C-DB6B62579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7CAE8CF-66B8-436E-A028-3ACD811A66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29A830F7-C50F-45B3-8CA1-FDAA228DE8AB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479425" y="3535679"/>
            <a:ext cx="5508625" cy="25571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D855801E-03B2-4E6C-8599-65D490FA039C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6203949" y="3535679"/>
            <a:ext cx="5508625" cy="25571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40F176A4-3FD0-49C6-89EE-CD3FB62299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9425" y="1700213"/>
            <a:ext cx="5496385" cy="16221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endParaRPr lang="en-US"/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B51C8AFB-DCF7-4707-855B-95830E76E59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16191" y="1700213"/>
            <a:ext cx="5496384" cy="16221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857555900"/>
      </p:ext>
    </p:extLst>
  </p:cSld>
  <p:clrMapOvr>
    <a:masterClrMapping/>
  </p:clrMapOvr>
  <p:transition spd="slow">
    <p:wip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43413B-18DD-49AB-B681-302FC2C2C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6443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43413B-18DD-49AB-B681-302FC2C2C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C2FC1F4-0A24-48B8-9662-BA5C606A3E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D26B49F-CCAE-47BE-A80D-261564C756D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01E7ED81-0E0C-4A0A-998F-99763A037D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80B02F72-F34A-462E-B197-A7FEC330C3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E1DCDD-6CB4-4CD0-9F6C-DB6B62579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7CAE8CF-66B8-436E-A028-3ACD811A66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40F176A4-3FD0-49C6-89EE-CD3FB62299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9425" y="1700212"/>
            <a:ext cx="5496385" cy="196957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endParaRPr lang="en-US"/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B51C8AFB-DCF7-4707-855B-95830E76E59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16191" y="1700212"/>
            <a:ext cx="5496384" cy="196957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91C44980-F6BB-4F17-B304-99135FCA6DF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9424" y="3831209"/>
            <a:ext cx="5508625" cy="2261616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35693452-4367-4824-9106-7A0ADB7511F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16191" y="3831209"/>
            <a:ext cx="5508625" cy="2261616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23003780"/>
      </p:ext>
    </p:extLst>
  </p:cSld>
  <p:clrMapOvr>
    <a:masterClrMapping/>
  </p:clrMapOvr>
  <p:transition spd="slow">
    <p:wip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2D536AB-C999-4AE1-B600-8E88F18242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1414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2D536AB-C999-4AE1-B600-8E88F18242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2F73D4F-BA64-453A-BF3A-360ED3B41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3600000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7F693E3-7006-45FD-8D55-73813DE0AC0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6225" y="1700213"/>
            <a:ext cx="3600000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5CC9C9F-47FD-492D-9A6E-4201CAFC57F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12125" y="1700213"/>
            <a:ext cx="3600000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F25103-6B92-4A7E-878E-E6358C34A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8C4C60B0-629B-49E1-A2A4-49FE1A3589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954617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2701">
          <p15:clr>
            <a:srgbClr val="FBAE40"/>
          </p15:clr>
        </p15:guide>
        <p15:guide id="2" pos="2576">
          <p15:clr>
            <a:srgbClr val="FBAE40"/>
          </p15:clr>
        </p15:guide>
        <p15:guide id="3" pos="4982">
          <p15:clr>
            <a:srgbClr val="FBAE40"/>
          </p15:clr>
        </p15:guide>
        <p15:guide id="4" pos="510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064400" cy="685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476251"/>
            <a:ext cx="3600000" cy="5616574"/>
          </a:xfrm>
        </p:spPr>
        <p:txBody>
          <a:bodyPr rIns="18000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2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20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bene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E916EED-C1C0-4C07-8ADE-F30C7E09591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63800" y="0"/>
            <a:ext cx="4064400" cy="685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7600" y="0"/>
            <a:ext cx="4064400" cy="685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6E77ACF0-52C3-4A1B-AB47-BB7111C42D7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75604" y="517788"/>
            <a:ext cx="1306800" cy="432000"/>
          </a:xfr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762648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61">
          <p15:clr>
            <a:srgbClr val="FBAE40"/>
          </p15:clr>
        </p15:guide>
        <p15:guide id="3" pos="511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476251"/>
            <a:ext cx="3600000" cy="5616574"/>
          </a:xfrm>
        </p:spPr>
        <p:txBody>
          <a:bodyPr rIns="18000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2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20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 bene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7A07B38-1E3C-4AF2-8E30-4C7291B889BE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E916EED-C1C0-4C07-8ADE-F30C7E09591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6380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760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68134291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2561" userDrawn="1">
          <p15:clr>
            <a:srgbClr val="FBAE40"/>
          </p15:clr>
        </p15:guide>
        <p15:guide id="3" pos="5112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g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6096000" cy="685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0"/>
            <a:ext cx="6096000" cy="685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E44522B2-F06F-46A4-B67B-A54ECCA8166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4" y="476251"/>
            <a:ext cx="5508625" cy="5616574"/>
          </a:xfrm>
        </p:spPr>
        <p:txBody>
          <a:bodyPr rIns="180000"/>
          <a:lstStyle>
            <a:lvl1pPr>
              <a:lnSpc>
                <a:spcPct val="100000"/>
              </a:lnSpc>
              <a:defRPr lang="de-DE" sz="48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32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bene</a:t>
            </a:r>
          </a:p>
          <a:p>
            <a:pPr lvl="4"/>
            <a:endParaRPr lang="en-US" noProof="0"/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5771E962-602C-4AEB-9A2D-6687C77B8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75604" y="517788"/>
            <a:ext cx="1306800" cy="432000"/>
          </a:xfr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118066"/>
      </p:ext>
    </p:extLst>
  </p:cSld>
  <p:clrMapOvr>
    <a:masterClrMapping/>
  </p:clrMapOvr>
  <p:transition spd="slow">
    <p:wip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g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0E8182E1-0AC6-4F46-B3FB-54439F2539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4" y="476251"/>
            <a:ext cx="5508625" cy="5616574"/>
          </a:xfrm>
        </p:spPr>
        <p:txBody>
          <a:bodyPr rIns="180000"/>
          <a:lstStyle>
            <a:lvl1pPr>
              <a:lnSpc>
                <a:spcPct val="100000"/>
              </a:lnSpc>
              <a:defRPr lang="de-DE" sz="48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32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bene</a:t>
            </a:r>
          </a:p>
          <a:p>
            <a:pPr lvl="4"/>
            <a:endParaRPr lang="en-US" noProof="0"/>
          </a:p>
        </p:txBody>
      </p:sp>
      <p:sp>
        <p:nvSpPr>
          <p:cNvPr id="7" name="Textplatzhalter 12">
            <a:extLst>
              <a:ext uri="{FF2B5EF4-FFF2-40B4-BE49-F238E27FC236}">
                <a16:creationId xmlns:a16="http://schemas.microsoft.com/office/drawing/2014/main" id="{34A56934-40D6-4081-8597-7D5F9B1DB6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75604" y="517788"/>
            <a:ext cx="1306800" cy="432000"/>
          </a:xfr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03403"/>
      </p:ext>
    </p:extLst>
  </p:cSld>
  <p:clrMapOvr>
    <a:masterClrMapping/>
  </p:clrMapOvr>
  <p:transition spd="slow">
    <p:wip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g Imagerigh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0"/>
            <a:ext cx="6096000" cy="685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346F01B-CA38-4902-837D-79073D540B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94CE2696-C40A-4CFF-868F-08ACDB127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86433"/>
            <a:ext cx="5508625" cy="962955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663B7F1B-175C-46EE-9051-7F9A29F540C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425" y="131763"/>
            <a:ext cx="5508697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5E237346-3E2F-4DD2-A982-BF457F6049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75604" y="517788"/>
            <a:ext cx="1306800" cy="432000"/>
          </a:xfr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803658"/>
      </p:ext>
    </p:extLst>
  </p:cSld>
  <p:clrMapOvr>
    <a:masterClrMapping/>
  </p:clrMapOvr>
  <p:transition spd="slow">
    <p:wip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A0A741E-6018-49E9-B756-97FF3C8EB2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7202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A0A741E-6018-49E9-B756-97FF3C8EB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89668B7-F416-4A25-8559-DF9C5F2C4ED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C05605C-E1E9-4476-B25F-F260CEF7674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394DA46-FC2A-48B3-A731-FC73E7B2A5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6557652-012C-42D4-B4F4-BBCDB60FED5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147BF4-3128-449E-826A-B3A1941E8D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127BAC69-BA92-4B29-90AE-BFBE5F8F5A8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716558"/>
      </p:ext>
    </p:extLst>
  </p:cSld>
  <p:clrMapOvr>
    <a:masterClrMapping/>
  </p:clrMapOvr>
  <p:transition spd="slow">
    <p:wip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47F837E3-A352-47C5-896C-79CE216855B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DCD2D3E1-BF04-49BA-9ABD-16507134B3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510596DF-A0CD-4CBF-B29B-072B676B80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17681824"/>
      </p:ext>
    </p:extLst>
  </p:cSld>
  <p:clrMapOvr>
    <a:masterClrMapping/>
  </p:clrMapOvr>
  <p:transition spd="slow">
    <p:wip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ize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DB96936-4807-4578-8EB2-6ECD168BFE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5760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DB96936-4807-4578-8EB2-6ECD168BFE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441FDCE-2983-41C6-8A78-57C9BD2AA6E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3110B0BD-4F20-4AD2-A47E-04397F684BE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9C5461-D5EA-4602-ABFD-1AB77F41D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DE7ED74-CE7B-4C24-A77C-517CCBBD3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2B3C37-C8E0-45AA-8EEB-A47F4840C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7F05EA4-D3CA-42BD-BE16-DE4F10B14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9766855"/>
      </p:ext>
    </p:extLst>
  </p:cSld>
  <p:clrMapOvr>
    <a:masterClrMapping/>
  </p:clrMapOvr>
  <p:transition spd="slow">
    <p:wip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624FB37B-3025-4DE4-9926-B6DFCC0B1C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8289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624FB37B-3025-4DE4-9926-B6DFCC0B1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A53803A-858A-4ABA-ACA8-350C727362D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3110B0BD-4F20-4AD2-A47E-04397F684BE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064400" cy="34308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C2FBF6A0-2A98-4272-801F-E5E5C8A9330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3427200"/>
            <a:ext cx="4064400" cy="34308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521F19F4-0081-405A-9FFC-547D935336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063800" y="3427200"/>
            <a:ext cx="4064400" cy="34308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71EDF6C2-AA7D-4F89-A67F-8717496E07C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7600" y="0"/>
            <a:ext cx="4064400" cy="34308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1396492-B460-420D-A8AE-A4D8D0B3E3F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27600" y="3427200"/>
            <a:ext cx="4064400" cy="34308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9C5461-D5EA-4602-ABFD-1AB77F41D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DE7ED74-CE7B-4C24-A77C-517CCBBD3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2B3C37-C8E0-45AA-8EEB-A47F4840C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EF5BD2D1-6604-482B-B501-CC3B55774AD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63800" y="0"/>
            <a:ext cx="4064400" cy="34308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3CABFA-1BF9-438F-8452-5E6A60B02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6644235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57">
          <p15:clr>
            <a:srgbClr val="FBAE40"/>
          </p15:clr>
        </p15:guide>
        <p15:guide id="4" pos="5112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-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43413B-18DD-49AB-B681-302FC2C2C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43413B-18DD-49AB-B681-302FC2C2C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C2FC1F4-0A24-48B8-9662-BA5C606A3E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7F693E3-7006-45FD-8D55-73813DE0AC0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03949" y="1700213"/>
            <a:ext cx="5508625" cy="189642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D26B49F-CCAE-47BE-A80D-261564C756D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01E7ED81-0E0C-4A0A-998F-99763A037D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80B02F72-F34A-462E-B197-A7FEC330C3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E1DCDD-6CB4-4CD0-9F6C-DB6B62579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7CAE8CF-66B8-436E-A028-3ACD811A66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1A132469-C479-4E67-A993-8FFF3DDBC199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479425" y="1700213"/>
            <a:ext cx="5508625" cy="189642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345F99B3-D4D6-4F4E-80E8-14BC40EBEA4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9425" y="3831209"/>
            <a:ext cx="2628000" cy="2261616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A1744E1-A5CE-4500-8CA8-80BFB18E773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360050" y="3831209"/>
            <a:ext cx="2628000" cy="2261616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547482D6-16E5-47A6-9576-105D0EFBB21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03949" y="3831209"/>
            <a:ext cx="2628000" cy="2261616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50498C11-ED30-4777-B119-B3B4141FA3F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84574" y="3831209"/>
            <a:ext cx="2628000" cy="2261616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06345310"/>
      </p:ext>
    </p:extLst>
  </p:cSld>
  <p:clrMapOvr>
    <a:masterClrMapping/>
  </p:clrMapOvr>
  <p:transition spd="slow">
    <p:wip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portuni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4738E9-A822-41DD-9206-30228D493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E6B384-A395-4A6D-969A-FD96FF4321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EE291E-ADAA-49CB-B9FE-AAE0B4D7A2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023143-8973-4D38-9205-53E025576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39CF8D56-A87D-4642-976C-129FCEDFD47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8390898-1F5A-4E18-965A-3CFC77F7E2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9425" y="1700213"/>
            <a:ext cx="9864000" cy="7560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BDFD064E-68CA-4F0F-B3E4-DF467C70D8B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9425" y="2609367"/>
            <a:ext cx="9864000" cy="7560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B1245AD0-0AF8-4442-AE0A-4888BC7DBE0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79425" y="3518521"/>
            <a:ext cx="9864000" cy="7560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4C59374-0703-4A0D-8893-016F6AF1583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5" y="4427675"/>
            <a:ext cx="9864000" cy="7560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0E3B5C1-C23B-427D-BCAA-A0A0C92628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9425" y="5336825"/>
            <a:ext cx="9864000" cy="7560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32C9BC06-48B4-4150-B417-E7205484EFE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0476711" y="1700213"/>
            <a:ext cx="1216025" cy="756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/>
            </a:lvl1pPr>
          </a:lstStyle>
          <a:p>
            <a:pPr lvl="0"/>
            <a:endParaRPr lang="en-US"/>
          </a:p>
        </p:txBody>
      </p:sp>
      <p:sp>
        <p:nvSpPr>
          <p:cNvPr id="15" name="Bildplatzhalter 13">
            <a:extLst>
              <a:ext uri="{FF2B5EF4-FFF2-40B4-BE49-F238E27FC236}">
                <a16:creationId xmlns:a16="http://schemas.microsoft.com/office/drawing/2014/main" id="{F1144F1E-65FC-42D5-9D5A-C4DA336D23F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10476711" y="2609366"/>
            <a:ext cx="1216025" cy="756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/>
            </a:lvl1pPr>
          </a:lstStyle>
          <a:p>
            <a:pPr lvl="0"/>
            <a:endParaRPr lang="en-US"/>
          </a:p>
        </p:txBody>
      </p:sp>
      <p:sp>
        <p:nvSpPr>
          <p:cNvPr id="16" name="Bildplatzhalter 13">
            <a:extLst>
              <a:ext uri="{FF2B5EF4-FFF2-40B4-BE49-F238E27FC236}">
                <a16:creationId xmlns:a16="http://schemas.microsoft.com/office/drawing/2014/main" id="{6440227A-4D1F-4BD9-9642-40059E77259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476711" y="3518519"/>
            <a:ext cx="1216025" cy="756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/>
            </a:lvl1pPr>
          </a:lstStyle>
          <a:p>
            <a:pPr lvl="0"/>
            <a:endParaRPr lang="en-US"/>
          </a:p>
        </p:txBody>
      </p:sp>
      <p:sp>
        <p:nvSpPr>
          <p:cNvPr id="17" name="Bildplatzhalter 13">
            <a:extLst>
              <a:ext uri="{FF2B5EF4-FFF2-40B4-BE49-F238E27FC236}">
                <a16:creationId xmlns:a16="http://schemas.microsoft.com/office/drawing/2014/main" id="{A0C6E177-6C7E-411A-BAAA-C4D74F80635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0476711" y="4427672"/>
            <a:ext cx="1216025" cy="756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/>
            </a:lvl1pPr>
          </a:lstStyle>
          <a:p>
            <a:pPr lvl="0"/>
            <a:endParaRPr lang="en-US"/>
          </a:p>
        </p:txBody>
      </p:sp>
      <p:sp>
        <p:nvSpPr>
          <p:cNvPr id="18" name="Bildplatzhalter 13">
            <a:extLst>
              <a:ext uri="{FF2B5EF4-FFF2-40B4-BE49-F238E27FC236}">
                <a16:creationId xmlns:a16="http://schemas.microsoft.com/office/drawing/2014/main" id="{36C464E3-BA9C-43A7-AD1C-A7B63E0CD59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0476711" y="5336825"/>
            <a:ext cx="1216025" cy="756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/>
            </a:lvl1pPr>
          </a:lstStyle>
          <a:p>
            <a:pPr lvl="0"/>
            <a:endParaRPr lang="en-US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9D3E26F5-B722-4BE2-B93B-41ADA5476EB6}"/>
              </a:ext>
            </a:extLst>
          </p:cNvPr>
          <p:cNvCxnSpPr/>
          <p:nvPr userDrawn="1"/>
        </p:nvCxnSpPr>
        <p:spPr>
          <a:xfrm>
            <a:off x="479425" y="2532790"/>
            <a:ext cx="98640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86773414-49DF-4126-BC86-847AB458B59A}"/>
              </a:ext>
            </a:extLst>
          </p:cNvPr>
          <p:cNvCxnSpPr/>
          <p:nvPr userDrawn="1"/>
        </p:nvCxnSpPr>
        <p:spPr>
          <a:xfrm>
            <a:off x="479425" y="3441944"/>
            <a:ext cx="98640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1722DBCC-304C-42D1-BA3E-78C487F4204F}"/>
              </a:ext>
            </a:extLst>
          </p:cNvPr>
          <p:cNvCxnSpPr/>
          <p:nvPr userDrawn="1"/>
        </p:nvCxnSpPr>
        <p:spPr>
          <a:xfrm>
            <a:off x="479425" y="4351098"/>
            <a:ext cx="98640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4FA874E3-22E7-4DC0-A104-BDF60A37590F}"/>
              </a:ext>
            </a:extLst>
          </p:cNvPr>
          <p:cNvCxnSpPr/>
          <p:nvPr userDrawn="1"/>
        </p:nvCxnSpPr>
        <p:spPr>
          <a:xfrm>
            <a:off x="479425" y="5260251"/>
            <a:ext cx="98640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8320737"/>
      </p:ext>
    </p:extLst>
  </p:cSld>
  <p:clrMapOvr>
    <a:masterClrMapping/>
  </p:clrMapOvr>
  <p:transition spd="slow">
    <p:wip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79FED69-6DE7-4E7D-AE8C-AAD3C4D8DD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79FED69-6DE7-4E7D-AE8C-AAD3C4D8DD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69830B1-0A78-4462-A1A2-A0468147684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1700215"/>
            <a:ext cx="6096000" cy="439261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</a:lstStyle>
          <a:p>
            <a:pPr lvl="0"/>
            <a:endParaRPr lang="en-US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BFDBD25-E82B-4088-9526-55824523D1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5"/>
            <a:ext cx="5508626" cy="43926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/>
          </a:p>
          <a:p>
            <a:pPr lvl="4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5CD5818-EB67-4A0B-8812-D5408EFAD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EEC31AF-0CF8-4DC5-A2A2-28436E79D1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190570"/>
      </p:ext>
    </p:extLst>
  </p:cSld>
  <p:clrMapOvr>
    <a:masterClrMapping/>
  </p:clrMapOvr>
  <p:transition spd="slow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g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6286854-37F7-415C-94A5-EB765F3BD8FF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E44522B2-F06F-46A4-B67B-A54ECCA8166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4" y="476251"/>
            <a:ext cx="5508625" cy="5616574"/>
          </a:xfrm>
        </p:spPr>
        <p:txBody>
          <a:bodyPr rIns="180000"/>
          <a:lstStyle>
            <a:lvl1pPr>
              <a:lnSpc>
                <a:spcPct val="100000"/>
              </a:lnSpc>
              <a:defRPr lang="de-DE" sz="48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32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 bene</a:t>
            </a:r>
          </a:p>
          <a:p>
            <a:pPr lvl="4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8961233"/>
      </p:ext>
    </p:extLst>
  </p:cSld>
  <p:clrMapOvr>
    <a:masterClrMapping/>
  </p:clrMapOvr>
  <p:transition spd="slow">
    <p:wip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he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BFDBD25-E82B-4088-9526-55824523D1F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63800" y="0"/>
            <a:ext cx="4064400" cy="3430800"/>
          </a:xfrm>
          <a:solidFill>
            <a:srgbClr val="7AE1BF"/>
          </a:solidFill>
        </p:spPr>
        <p:txBody>
          <a:bodyPr lIns="144000" tIns="1188000" rIns="288000" bIns="144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600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/>
          </a:p>
          <a:p>
            <a:pPr lvl="4"/>
            <a:endParaRPr lang="en-US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12DB674-BF65-4450-B314-FD69395DE034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063800" y="3427200"/>
            <a:ext cx="4064400" cy="3430800"/>
          </a:xfrm>
          <a:solidFill>
            <a:srgbClr val="007398"/>
          </a:solidFill>
        </p:spPr>
        <p:txBody>
          <a:bodyPr lIns="144000" tIns="288000" rIns="288000" bIns="144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lang="en-US" sz="1600" b="1" kern="1200" cap="none" spc="0" baseline="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/>
          </a:p>
          <a:p>
            <a:pPr lvl="4"/>
            <a:endParaRPr lang="en-US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6B183A3-B0C2-4524-ABEB-7AD27842F5E8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8127600" y="0"/>
            <a:ext cx="4064400" cy="3430800"/>
          </a:xfrm>
          <a:solidFill>
            <a:srgbClr val="FFA38B"/>
          </a:solidFill>
        </p:spPr>
        <p:txBody>
          <a:bodyPr lIns="144000" tIns="1188000" rIns="288000" bIns="144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lang="en-US" sz="1600" b="1" kern="1200" cap="none" spc="0" baseline="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/>
          </a:p>
          <a:p>
            <a:pPr lvl="4"/>
            <a:endParaRPr lang="en-US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8D434408-2B64-439E-9012-4FBB68F43F1C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8127600" y="3427200"/>
            <a:ext cx="4064400" cy="3430800"/>
          </a:xfrm>
          <a:solidFill>
            <a:srgbClr val="E03E52"/>
          </a:solidFill>
        </p:spPr>
        <p:txBody>
          <a:bodyPr lIns="144000" tIns="288000" rIns="288000" bIns="144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lang="en-US" sz="1600" b="1" kern="1200" cap="none" spc="0" baseline="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/>
          </a:p>
          <a:p>
            <a:pPr lvl="4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79FED69-6DE7-4E7D-AE8C-AAD3C4D8DD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79FED69-6DE7-4E7D-AE8C-AAD3C4D8DD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69830B1-0A78-4462-A1A2-A0468147684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5CD5818-EB67-4A0B-8812-D5408EFAD6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86433"/>
            <a:ext cx="3456000" cy="96295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EEC31AF-0CF8-4DC5-A2A2-28436E79D1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425" y="131763"/>
            <a:ext cx="3456000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36" name="Inhaltsplatzhalter 2">
            <a:extLst>
              <a:ext uri="{FF2B5EF4-FFF2-40B4-BE49-F238E27FC236}">
                <a16:creationId xmlns:a16="http://schemas.microsoft.com/office/drawing/2014/main" id="{76E1FC30-8325-4E71-99D8-7E344A0B6E65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479425" y="1700215"/>
            <a:ext cx="3456000" cy="43926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/>
          </a:p>
          <a:p>
            <a:pPr lvl="4"/>
            <a:endParaRPr lang="en-US"/>
          </a:p>
        </p:txBody>
      </p:sp>
      <p:sp>
        <p:nvSpPr>
          <p:cNvPr id="38" name="Textplatzhalter 12">
            <a:extLst>
              <a:ext uri="{FF2B5EF4-FFF2-40B4-BE49-F238E27FC236}">
                <a16:creationId xmlns:a16="http://schemas.microsoft.com/office/drawing/2014/main" id="{1584DC02-F84D-494A-A462-39A70433644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575604" y="517788"/>
            <a:ext cx="1306800" cy="432000"/>
          </a:xfrm>
          <a:blipFill dpi="0" rotWithShape="0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027932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2557">
          <p15:clr>
            <a:srgbClr val="FBAE40"/>
          </p15:clr>
        </p15:guide>
        <p15:guide id="2" pos="511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+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A5A42E-6C8D-499C-8902-02CE74169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51EDD5-8EE7-471D-96CD-9D8D366E0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61DE74-C528-4BC6-90EA-13918291F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CABD1D-971A-404E-8181-44AF2D964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6D70B69D-EF83-43D7-8DC7-30ABD8CA75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F1BBADD8-E8E6-46A5-9CD0-B3A9B013F26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9425" y="4571999"/>
            <a:ext cx="2628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84A61D96-409B-40F5-95BF-79F44377956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347808" y="4571999"/>
            <a:ext cx="2628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9BAE9B88-9416-4E99-A309-1B84559104B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16191" y="4571999"/>
            <a:ext cx="2628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4C549D0-8A17-459F-B661-82336CE280C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84574" y="4571999"/>
            <a:ext cx="2628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3817B74-B908-45ED-8843-9EB0FF752B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9425" y="1700213"/>
            <a:ext cx="2627313" cy="2655995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584A6793-2005-42E2-8B7D-76935EE7A44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47808" y="1700213"/>
            <a:ext cx="2627313" cy="2655995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0FF710C6-DDFB-46F7-BC26-FDB534B680F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16191" y="1700213"/>
            <a:ext cx="2627313" cy="2655995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636050DD-54D2-468D-98FE-CC44ED956D4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84574" y="1700213"/>
            <a:ext cx="2627313" cy="2655995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27BF6C1-52B6-4CAD-91A3-34F342729A02}"/>
              </a:ext>
            </a:extLst>
          </p:cNvPr>
          <p:cNvCxnSpPr/>
          <p:nvPr userDrawn="1"/>
        </p:nvCxnSpPr>
        <p:spPr>
          <a:xfrm>
            <a:off x="3227273" y="1700213"/>
            <a:ext cx="0" cy="439261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2999D7C6-A1BB-4FC3-BF66-E13A0F758B3C}"/>
              </a:ext>
            </a:extLst>
          </p:cNvPr>
          <p:cNvCxnSpPr/>
          <p:nvPr userDrawn="1"/>
        </p:nvCxnSpPr>
        <p:spPr>
          <a:xfrm>
            <a:off x="6095656" y="1700213"/>
            <a:ext cx="0" cy="439261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AC1271-25AE-4124-B6F3-6BE364680DCB}"/>
              </a:ext>
            </a:extLst>
          </p:cNvPr>
          <p:cNvCxnSpPr/>
          <p:nvPr userDrawn="1"/>
        </p:nvCxnSpPr>
        <p:spPr>
          <a:xfrm>
            <a:off x="8964039" y="1700213"/>
            <a:ext cx="0" cy="439261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3519758"/>
      </p:ext>
    </p:extLst>
  </p:cSld>
  <p:clrMapOvr>
    <a:masterClrMapping/>
  </p:clrMapOvr>
  <p:transition spd="slow">
    <p:wip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A5A42E-6C8D-499C-8902-02CE74169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51EDD5-8EE7-471D-96CD-9D8D366E0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61DE74-C528-4BC6-90EA-13918291F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CABD1D-971A-404E-8181-44AF2D964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6D70B69D-EF83-43D7-8DC7-30ABD8CA75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3817B74-B908-45ED-8843-9EB0FF752B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9425" y="1700213"/>
            <a:ext cx="2627313" cy="4392612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584A6793-2005-42E2-8B7D-76935EE7A44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47808" y="1700213"/>
            <a:ext cx="2627313" cy="4392612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0FF710C6-DDFB-46F7-BC26-FDB534B680F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16191" y="1700213"/>
            <a:ext cx="2627313" cy="4392612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636050DD-54D2-468D-98FE-CC44ED956D4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84574" y="1700213"/>
            <a:ext cx="2627313" cy="4392612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27BF6C1-52B6-4CAD-91A3-34F342729A02}"/>
              </a:ext>
            </a:extLst>
          </p:cNvPr>
          <p:cNvCxnSpPr/>
          <p:nvPr userDrawn="1"/>
        </p:nvCxnSpPr>
        <p:spPr>
          <a:xfrm>
            <a:off x="3227273" y="1700213"/>
            <a:ext cx="0" cy="439261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2999D7C6-A1BB-4FC3-BF66-E13A0F758B3C}"/>
              </a:ext>
            </a:extLst>
          </p:cNvPr>
          <p:cNvCxnSpPr/>
          <p:nvPr userDrawn="1"/>
        </p:nvCxnSpPr>
        <p:spPr>
          <a:xfrm>
            <a:off x="6095656" y="1700213"/>
            <a:ext cx="0" cy="439261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AC1271-25AE-4124-B6F3-6BE364680DCB}"/>
              </a:ext>
            </a:extLst>
          </p:cNvPr>
          <p:cNvCxnSpPr/>
          <p:nvPr userDrawn="1"/>
        </p:nvCxnSpPr>
        <p:spPr>
          <a:xfrm>
            <a:off x="8964039" y="1700213"/>
            <a:ext cx="0" cy="439261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9402606"/>
      </p:ext>
    </p:extLst>
  </p:cSld>
  <p:clrMapOvr>
    <a:masterClrMapping/>
  </p:clrMapOvr>
  <p:transition spd="slow">
    <p:wip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+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A5A42E-6C8D-499C-8902-02CE74169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51EDD5-8EE7-471D-96CD-9D8D366E0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61DE74-C528-4BC6-90EA-13918291F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CABD1D-971A-404E-8181-44AF2D964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6D70B69D-EF83-43D7-8DC7-30ABD8CA75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F1BBADD8-E8E6-46A5-9CD0-B3A9B013F26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9425" y="4571999"/>
            <a:ext cx="1224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3817B74-B908-45ED-8843-9EB0FF752B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9425" y="1700213"/>
            <a:ext cx="2627313" cy="2655995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584A6793-2005-42E2-8B7D-76935EE7A44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47808" y="1700213"/>
            <a:ext cx="2627313" cy="2655995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0FF710C6-DDFB-46F7-BC26-FDB534B680F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16191" y="1700213"/>
            <a:ext cx="2627313" cy="2655995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636050DD-54D2-468D-98FE-CC44ED956D4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84574" y="1700213"/>
            <a:ext cx="2627313" cy="2655995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27BF6C1-52B6-4CAD-91A3-34F342729A02}"/>
              </a:ext>
            </a:extLst>
          </p:cNvPr>
          <p:cNvCxnSpPr/>
          <p:nvPr userDrawn="1"/>
        </p:nvCxnSpPr>
        <p:spPr>
          <a:xfrm>
            <a:off x="3227273" y="1700213"/>
            <a:ext cx="0" cy="439261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2999D7C6-A1BB-4FC3-BF66-E13A0F758B3C}"/>
              </a:ext>
            </a:extLst>
          </p:cNvPr>
          <p:cNvCxnSpPr/>
          <p:nvPr userDrawn="1"/>
        </p:nvCxnSpPr>
        <p:spPr>
          <a:xfrm>
            <a:off x="6095656" y="1700213"/>
            <a:ext cx="0" cy="439261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AC1271-25AE-4124-B6F3-6BE364680DCB}"/>
              </a:ext>
            </a:extLst>
          </p:cNvPr>
          <p:cNvCxnSpPr/>
          <p:nvPr userDrawn="1"/>
        </p:nvCxnSpPr>
        <p:spPr>
          <a:xfrm>
            <a:off x="8964039" y="1700213"/>
            <a:ext cx="0" cy="439261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F9D314B8-A5EC-4C98-AF3A-B50B6DC311F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870497" y="4571999"/>
            <a:ext cx="1224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2B4C31F4-A80C-4B2E-A3E0-77D6CF098BA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3360049" y="4571999"/>
            <a:ext cx="1224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C25CB1D0-51DF-40A2-8259-6EBA23881F8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751121" y="4571999"/>
            <a:ext cx="1224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ED0642C4-CE5B-4881-B7CE-A9D6189BE1F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228431" y="4571999"/>
            <a:ext cx="1224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DF17C1FA-884E-4B6A-B95F-ED6294ACEA0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7619503" y="4571999"/>
            <a:ext cx="1224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DFE66770-E946-44C5-9CE4-3E03803AC74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9097505" y="4571999"/>
            <a:ext cx="1224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1E16CD-61C3-4A47-96E8-01F43FF969A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0488577" y="4571999"/>
            <a:ext cx="1224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22729513"/>
      </p:ext>
    </p:extLst>
  </p:cSld>
  <p:clrMapOvr>
    <a:masterClrMapping/>
  </p:clrMapOvr>
  <p:transition spd="slow">
    <p:wip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A5A42E-6C8D-499C-8902-02CE74169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51EDD5-8EE7-471D-96CD-9D8D366E0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61DE74-C528-4BC6-90EA-13918291F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CABD1D-971A-404E-8181-44AF2D964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6D70B69D-EF83-43D7-8DC7-30ABD8CA75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F1BBADD8-E8E6-46A5-9CD0-B3A9B013F26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9425" y="4571999"/>
            <a:ext cx="2628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84A61D96-409B-40F5-95BF-79F44377956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360050" y="4571999"/>
            <a:ext cx="2628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9BAE9B88-9416-4E99-A309-1B84559104B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03949" y="4571999"/>
            <a:ext cx="2628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4C549D0-8A17-459F-B661-82336CE280C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84574" y="4571999"/>
            <a:ext cx="2628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3817B74-B908-45ED-8843-9EB0FF752B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9425" y="1700213"/>
            <a:ext cx="11233150" cy="265599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347817"/>
      </p:ext>
    </p:extLst>
  </p:cSld>
  <p:clrMapOvr>
    <a:masterClrMapping/>
  </p:clrMapOvr>
  <p:transition spd="slow">
    <p:wip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1D3CC055-008E-411F-9E7B-39CF6C7B1A9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127600" y="0"/>
            <a:ext cx="4064400" cy="685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2A5A42E-6C8D-499C-8902-02CE74169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86433"/>
            <a:ext cx="7450630" cy="96295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51EDD5-8EE7-471D-96CD-9D8D366E0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61DE74-C528-4BC6-90EA-13918291F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CABD1D-971A-404E-8181-44AF2D964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6D70B69D-EF83-43D7-8DC7-30ABD8CA75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7452000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3817B74-B908-45ED-8843-9EB0FF752B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9425" y="1700213"/>
            <a:ext cx="7452000" cy="43926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E0A7C810-0237-4132-AE0E-FEFCAB446EB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75604" y="517788"/>
            <a:ext cx="1306800" cy="432000"/>
          </a:xfr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934863"/>
      </p:ext>
    </p:extLst>
  </p:cSld>
  <p:clrMapOvr>
    <a:masterClrMapping/>
  </p:clrMapOvr>
  <p:transition spd="slow">
    <p:wip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A5A42E-6C8D-499C-8902-02CE74169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51EDD5-8EE7-471D-96CD-9D8D366E0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61DE74-C528-4BC6-90EA-13918291F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CABD1D-971A-404E-8181-44AF2D964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6D70B69D-EF83-43D7-8DC7-30ABD8CA75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4C549D0-8A17-459F-B661-82336CE280C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84574" y="1700214"/>
            <a:ext cx="2628000" cy="208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3817B74-B908-45ED-8843-9EB0FF752B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9426" y="1700214"/>
            <a:ext cx="2627313" cy="20880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>
              <a:lnSpc>
                <a:spcPct val="110000"/>
              </a:lnSpc>
              <a:spcBef>
                <a:spcPts val="300"/>
              </a:spcBef>
              <a:defRPr sz="1400"/>
            </a:lvl1pPr>
            <a:lvl2pPr>
              <a:lnSpc>
                <a:spcPct val="110000"/>
              </a:lnSpc>
              <a:spcBef>
                <a:spcPts val="300"/>
              </a:spcBef>
              <a:defRPr sz="1200"/>
            </a:lvl2pPr>
            <a:lvl3pPr>
              <a:lnSpc>
                <a:spcPct val="110000"/>
              </a:lnSpc>
              <a:spcBef>
                <a:spcPts val="300"/>
              </a:spcBef>
              <a:defRPr sz="1200"/>
            </a:lvl3pPr>
            <a:lvl4pPr>
              <a:lnSpc>
                <a:spcPct val="110000"/>
              </a:lnSpc>
              <a:spcBef>
                <a:spcPts val="300"/>
              </a:spcBef>
              <a:defRPr sz="1200"/>
            </a:lvl4pPr>
            <a:lvl5pPr>
              <a:lnSpc>
                <a:spcPct val="110000"/>
              </a:lnSpc>
              <a:spcBef>
                <a:spcPts val="300"/>
              </a:spcBef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47319B1A-2B4B-49CD-956F-CA355A244DF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79426" y="4004824"/>
            <a:ext cx="2627313" cy="20880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>
              <a:lnSpc>
                <a:spcPct val="110000"/>
              </a:lnSpc>
              <a:spcBef>
                <a:spcPts val="300"/>
              </a:spcBef>
              <a:defRPr sz="1400"/>
            </a:lvl1pPr>
            <a:lvl2pPr>
              <a:lnSpc>
                <a:spcPct val="110000"/>
              </a:lnSpc>
              <a:spcBef>
                <a:spcPts val="300"/>
              </a:spcBef>
              <a:defRPr sz="1200"/>
            </a:lvl2pPr>
            <a:lvl3pPr>
              <a:lnSpc>
                <a:spcPct val="110000"/>
              </a:lnSpc>
              <a:spcBef>
                <a:spcPts val="300"/>
              </a:spcBef>
              <a:defRPr sz="1200"/>
            </a:lvl3pPr>
            <a:lvl4pPr>
              <a:lnSpc>
                <a:spcPct val="110000"/>
              </a:lnSpc>
              <a:spcBef>
                <a:spcPts val="300"/>
              </a:spcBef>
              <a:defRPr sz="1200"/>
            </a:lvl4pPr>
            <a:lvl5pPr>
              <a:lnSpc>
                <a:spcPct val="110000"/>
              </a:lnSpc>
              <a:spcBef>
                <a:spcPts val="300"/>
              </a:spcBef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4158357F-81BD-412D-B4CB-4E26F8807FD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347809" y="1700214"/>
            <a:ext cx="2627313" cy="20880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>
              <a:lnSpc>
                <a:spcPct val="110000"/>
              </a:lnSpc>
              <a:spcBef>
                <a:spcPts val="300"/>
              </a:spcBef>
              <a:defRPr sz="1400"/>
            </a:lvl1pPr>
            <a:lvl2pPr>
              <a:lnSpc>
                <a:spcPct val="110000"/>
              </a:lnSpc>
              <a:spcBef>
                <a:spcPts val="300"/>
              </a:spcBef>
              <a:defRPr sz="1200"/>
            </a:lvl2pPr>
            <a:lvl3pPr>
              <a:lnSpc>
                <a:spcPct val="110000"/>
              </a:lnSpc>
              <a:spcBef>
                <a:spcPts val="300"/>
              </a:spcBef>
              <a:defRPr sz="1200"/>
            </a:lvl3pPr>
            <a:lvl4pPr>
              <a:lnSpc>
                <a:spcPct val="110000"/>
              </a:lnSpc>
              <a:spcBef>
                <a:spcPts val="300"/>
              </a:spcBef>
              <a:defRPr sz="1200"/>
            </a:lvl4pPr>
            <a:lvl5pPr>
              <a:lnSpc>
                <a:spcPct val="110000"/>
              </a:lnSpc>
              <a:spcBef>
                <a:spcPts val="300"/>
              </a:spcBef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E573BF25-ABB5-44D7-ACCB-042632F8A01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47807" y="4004824"/>
            <a:ext cx="2627313" cy="20880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>
              <a:lnSpc>
                <a:spcPct val="110000"/>
              </a:lnSpc>
              <a:spcBef>
                <a:spcPts val="300"/>
              </a:spcBef>
              <a:defRPr sz="1400"/>
            </a:lvl1pPr>
            <a:lvl2pPr>
              <a:lnSpc>
                <a:spcPct val="110000"/>
              </a:lnSpc>
              <a:spcBef>
                <a:spcPts val="300"/>
              </a:spcBef>
              <a:defRPr sz="1200"/>
            </a:lvl2pPr>
            <a:lvl3pPr>
              <a:lnSpc>
                <a:spcPct val="110000"/>
              </a:lnSpc>
              <a:spcBef>
                <a:spcPts val="300"/>
              </a:spcBef>
              <a:defRPr sz="1200"/>
            </a:lvl3pPr>
            <a:lvl4pPr>
              <a:lnSpc>
                <a:spcPct val="110000"/>
              </a:lnSpc>
              <a:spcBef>
                <a:spcPts val="300"/>
              </a:spcBef>
              <a:defRPr sz="1200"/>
            </a:lvl4pPr>
            <a:lvl5pPr>
              <a:lnSpc>
                <a:spcPct val="110000"/>
              </a:lnSpc>
              <a:spcBef>
                <a:spcPts val="300"/>
              </a:spcBef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EF97FD94-D989-4CB2-B820-029CB99A254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16189" y="1700214"/>
            <a:ext cx="2627313" cy="20880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>
              <a:lnSpc>
                <a:spcPct val="110000"/>
              </a:lnSpc>
              <a:spcBef>
                <a:spcPts val="300"/>
              </a:spcBef>
              <a:defRPr sz="1400"/>
            </a:lvl1pPr>
            <a:lvl2pPr>
              <a:lnSpc>
                <a:spcPct val="110000"/>
              </a:lnSpc>
              <a:spcBef>
                <a:spcPts val="300"/>
              </a:spcBef>
              <a:defRPr sz="1200"/>
            </a:lvl2pPr>
            <a:lvl3pPr>
              <a:lnSpc>
                <a:spcPct val="110000"/>
              </a:lnSpc>
              <a:spcBef>
                <a:spcPts val="300"/>
              </a:spcBef>
              <a:defRPr sz="1200"/>
            </a:lvl3pPr>
            <a:lvl4pPr>
              <a:lnSpc>
                <a:spcPct val="110000"/>
              </a:lnSpc>
              <a:spcBef>
                <a:spcPts val="300"/>
              </a:spcBef>
              <a:defRPr sz="1200"/>
            </a:lvl4pPr>
            <a:lvl5pPr>
              <a:lnSpc>
                <a:spcPct val="110000"/>
              </a:lnSpc>
              <a:spcBef>
                <a:spcPts val="300"/>
              </a:spcBef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6" name="Textplatzhalter 12">
            <a:extLst>
              <a:ext uri="{FF2B5EF4-FFF2-40B4-BE49-F238E27FC236}">
                <a16:creationId xmlns:a16="http://schemas.microsoft.com/office/drawing/2014/main" id="{EAA0669A-F4F6-4411-AF32-7B4799DA2C6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216189" y="4010854"/>
            <a:ext cx="2627313" cy="20880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>
              <a:lnSpc>
                <a:spcPct val="110000"/>
              </a:lnSpc>
              <a:spcBef>
                <a:spcPts val="300"/>
              </a:spcBef>
              <a:defRPr sz="1400"/>
            </a:lvl1pPr>
            <a:lvl2pPr>
              <a:lnSpc>
                <a:spcPct val="110000"/>
              </a:lnSpc>
              <a:spcBef>
                <a:spcPts val="300"/>
              </a:spcBef>
              <a:defRPr sz="1200"/>
            </a:lvl2pPr>
            <a:lvl3pPr>
              <a:lnSpc>
                <a:spcPct val="110000"/>
              </a:lnSpc>
              <a:spcBef>
                <a:spcPts val="300"/>
              </a:spcBef>
              <a:defRPr sz="1200"/>
            </a:lvl3pPr>
            <a:lvl4pPr>
              <a:lnSpc>
                <a:spcPct val="110000"/>
              </a:lnSpc>
              <a:spcBef>
                <a:spcPts val="300"/>
              </a:spcBef>
              <a:defRPr sz="1200"/>
            </a:lvl4pPr>
            <a:lvl5pPr>
              <a:lnSpc>
                <a:spcPct val="110000"/>
              </a:lnSpc>
              <a:spcBef>
                <a:spcPts val="300"/>
              </a:spcBef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BF58400D-D82C-4FB0-8595-19EA2FE3ED1E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9084574" y="4004824"/>
            <a:ext cx="2628000" cy="208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38774693"/>
      </p:ext>
    </p:extLst>
  </p:cSld>
  <p:clrMapOvr>
    <a:masterClrMapping/>
  </p:clrMapOvr>
  <p:transition spd="slow">
    <p:wip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t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C00460-B3CB-4570-89E6-0E2BEAED7D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C00460-B3CB-4570-89E6-0E2BEAED7D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7DD112-0CE0-4C90-A8A6-710CBF7530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BB76BB7C-9EB3-4744-8A8A-530012181A0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7000EE5F-C97B-45D9-8069-074DD5C073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AB05F9C-BC44-4723-9206-5F426E4BA32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8606" y="524356"/>
            <a:ext cx="1543624" cy="5112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7E461D21-7EAC-4696-AAFA-5C77D6FA71C4}"/>
              </a:ext>
            </a:extLst>
          </p:cNvPr>
          <p:cNvSpPr/>
          <p:nvPr userDrawn="1"/>
        </p:nvSpPr>
        <p:spPr>
          <a:xfrm>
            <a:off x="1380519" y="6456465"/>
            <a:ext cx="239488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/>
            <a:r>
              <a:rPr lang="en-US" sz="1000">
                <a:solidFill>
                  <a:schemeClr val="tx1"/>
                </a:solidFill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2945340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9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30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</p:bld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ter -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958A507-DAFA-42BF-8849-C3CB4289A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3" imgH="416" progId="TCLayout.ActiveDocument.1">
                  <p:embed/>
                </p:oleObj>
              </mc:Choice>
              <mc:Fallback>
                <p:oleObj name="think-cell Slide" r:id="rId4" imgW="413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958A507-DAFA-42BF-8849-C3CB4289A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02DE261-04CD-4B94-BD88-3E91949FEA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ot">
            <a:extLst>
              <a:ext uri="{FF2B5EF4-FFF2-40B4-BE49-F238E27FC236}">
                <a16:creationId xmlns:a16="http://schemas.microsoft.com/office/drawing/2014/main" id="{CB574361-3B97-4389-9DE0-5B25DFE5D667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585" tIns="26585" rIns="11077" bIns="11077" rtlCol="0" anchor="t" anchorCtr="0"/>
          <a:lstStyle/>
          <a:p>
            <a:pPr algn="ctr" eaLnBrk="1">
              <a:lnSpc>
                <a:spcPct val="105000"/>
              </a:lnSpc>
            </a:pPr>
            <a:endParaRPr lang="en-US" sz="986" noProof="0">
              <a:solidFill>
                <a:schemeClr val="tx1"/>
              </a:solidFill>
            </a:endParaRPr>
          </a:p>
        </p:txBody>
      </p:sp>
      <p:sp>
        <p:nvSpPr>
          <p:cNvPr id="9" name="hellrot">
            <a:extLst>
              <a:ext uri="{FF2B5EF4-FFF2-40B4-BE49-F238E27FC236}">
                <a16:creationId xmlns:a16="http://schemas.microsoft.com/office/drawing/2014/main" id="{C6366DF7-9E3E-4DFD-BC00-8921066868C2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E03E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3038" noProof="0"/>
          </a:p>
        </p:txBody>
      </p:sp>
      <p:sp>
        <p:nvSpPr>
          <p:cNvPr id="10" name="dunkelrot">
            <a:extLst>
              <a:ext uri="{FF2B5EF4-FFF2-40B4-BE49-F238E27FC236}">
                <a16:creationId xmlns:a16="http://schemas.microsoft.com/office/drawing/2014/main" id="{49C62A64-95AD-449A-AE83-8769CF5416E3}"/>
              </a:ext>
            </a:extLst>
          </p:cNvPr>
          <p:cNvSpPr/>
          <p:nvPr userDrawn="1"/>
        </p:nvSpPr>
        <p:spPr>
          <a:xfrm>
            <a:off x="-600" y="0"/>
            <a:ext cx="121932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3038" noProof="0"/>
          </a:p>
        </p:txBody>
      </p:sp>
      <p:sp>
        <p:nvSpPr>
          <p:cNvPr id="11" name="rot">
            <a:extLst>
              <a:ext uri="{FF2B5EF4-FFF2-40B4-BE49-F238E27FC236}">
                <a16:creationId xmlns:a16="http://schemas.microsoft.com/office/drawing/2014/main" id="{74E6412B-E7DD-4AF8-A8F2-7131EEA7149B}"/>
              </a:ext>
            </a:extLst>
          </p:cNvPr>
          <p:cNvSpPr/>
          <p:nvPr userDrawn="1"/>
        </p:nvSpPr>
        <p:spPr>
          <a:xfrm>
            <a:off x="-1200" y="0"/>
            <a:ext cx="121932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585" tIns="26585" rIns="11077" bIns="11077" rtlCol="0" anchor="t" anchorCtr="0"/>
          <a:lstStyle/>
          <a:p>
            <a:pPr algn="ctr" eaLnBrk="1">
              <a:lnSpc>
                <a:spcPct val="105000"/>
              </a:lnSpc>
            </a:pPr>
            <a:endParaRPr lang="en-US" sz="986" noProof="0">
              <a:solidFill>
                <a:schemeClr val="tx1"/>
              </a:solidFill>
            </a:endParaRP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6D9BA064-8BEC-4E18-9E5F-8638A855F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D6484004-B62C-415E-B446-0AE6DF1C13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F2F5208C-51E6-4F23-8234-0200112DC9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4341066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4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4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0" nodeType="withEffect">
                                  <p:stCondLst>
                                    <p:cond delay="8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4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30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</p:bld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F51874F-67F5-42E4-934A-9B7E96BC2D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F51874F-67F5-42E4-934A-9B7E96BC2D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844B671-E447-4191-8505-43D101A81B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265B5FEF-D611-49E4-9D72-DA783A54B82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9F6ACA-541A-4611-BF73-5A5116CCCEF2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A915E5C5-0F3C-40B6-AE60-181785B7E6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1C4F4A70-2809-4CD1-9143-651E3C7A55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B89318-A586-4C32-A8CF-CBF1D042A1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056967"/>
      </p:ext>
    </p:extLst>
  </p:cSld>
  <p:clrMapOvr>
    <a:masterClrMapping/>
  </p:clrMapOvr>
  <p:transition spd="slow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g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4E85D14-7C8F-4BC7-A30C-0C03CE2E8D4E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0E8182E1-0AC6-4F46-B3FB-54439F2539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4" y="476251"/>
            <a:ext cx="5508625" cy="5616574"/>
          </a:xfrm>
        </p:spPr>
        <p:txBody>
          <a:bodyPr rIns="180000"/>
          <a:lstStyle>
            <a:lvl1pPr>
              <a:lnSpc>
                <a:spcPct val="100000"/>
              </a:lnSpc>
              <a:defRPr lang="de-DE" sz="48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32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 bene</a:t>
            </a:r>
          </a:p>
          <a:p>
            <a:pPr lvl="4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82231171"/>
      </p:ext>
    </p:extLst>
  </p:cSld>
  <p:clrMapOvr>
    <a:masterClrMapping/>
  </p:clrMapOvr>
  <p:transition spd="slow">
    <p:wip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58950" y="274640"/>
            <a:ext cx="9654535" cy="7778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F0F559-5222-4595-9AEF-715362817BF3}" type="slidenum">
              <a:rPr lang="de-CH"/>
              <a:pPr>
                <a:defRPr/>
              </a:pPr>
              <a:t>‹#›</a:t>
            </a:fld>
            <a:endParaRPr lang="de-CH"/>
          </a:p>
        </p:txBody>
      </p:sp>
      <p:pic>
        <p:nvPicPr>
          <p:cNvPr id="5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8862" y="422276"/>
            <a:ext cx="1200306" cy="200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33614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3DF2-0275-4681-84FA-74C04EEA70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094BAE-2408-4747-9DA8-787BCB07D4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0EAAB0-D604-4487-A88C-170DB6E3DB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C5949-00C1-44B4-BEA6-208A73A78C03}" type="datetimeFigureOut">
              <a:rPr lang="de-CH" smtClean="0"/>
              <a:t>12.05.2022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39ED28-6DEE-4DE5-9BD0-5720190E66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10B73D-739E-4F2B-8F1C-7FB5E8EEEF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647AF7-0E0E-4C2C-8557-FC31F3F3E961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469178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E70EB1-E286-44F8-B866-6FF35EE1ED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32AC5B-F755-48FC-90D3-F99CB63BF48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92580C-AA33-4F41-92D5-D243E4C6AB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8E1653-7C0B-4E67-8BB2-51018558259D}" type="datetimeFigureOut">
              <a:rPr lang="en-US" smtClean="0"/>
              <a:t>5/1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45299F-97D9-4F60-941E-66695AC8E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CFD0B4-2FFE-4AD2-B8AB-60C5403F4C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8EABD3-6218-4ACE-929C-8073C3F5B6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16073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 big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476251"/>
            <a:ext cx="3600000" cy="5616574"/>
          </a:xfrm>
        </p:spPr>
        <p:txBody>
          <a:bodyPr rIns="18000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2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20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bene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61420F3-19DB-4EBB-9B72-2C5128A48971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E916EED-C1C0-4C07-8ADE-F30C7E09591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6380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760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8101884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61">
          <p15:clr>
            <a:srgbClr val="FBAE40"/>
          </p15:clr>
        </p15:guide>
        <p15:guide id="3" pos="511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F62BB54-9E74-4073-B5B8-25A0DDC01D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7545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F62BB54-9E74-4073-B5B8-25A0DDC01D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6BD4750-C10D-44A8-9459-858D99CD01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98259268-9714-44CC-A2C7-58556D4CFF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1700213"/>
            <a:ext cx="5508625" cy="4392612"/>
          </a:xfrm>
        </p:spPr>
        <p:txBody>
          <a:bodyPr lIns="50400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50A316F3-A2DE-46B4-92AA-BF11BC6F5FFA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203950" y="1700213"/>
            <a:ext cx="5508625" cy="4392612"/>
          </a:xfrm>
        </p:spPr>
        <p:txBody>
          <a:bodyPr lIns="50400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5E039-43B5-47F3-B6B5-2744629A9262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9DA597B-3437-4983-ADA1-C0A2EFFC6D5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0760B3-7C3D-4AA1-95E9-A5AE83B9C75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F5707BF-C0FF-4488-BFC1-DCE99B0B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CB97312-6264-4F4D-A613-3088B5A7769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158843"/>
      </p:ext>
    </p:extLst>
  </p:cSld>
  <p:clrMapOvr>
    <a:masterClrMapping/>
  </p:clrMapOvr>
  <p:transition spd="slow">
    <p:wip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F51874F-67F5-42E4-934A-9B7E96BC2D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631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F51874F-67F5-42E4-934A-9B7E96BC2D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844B671-E447-4191-8505-43D101A81B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265B5FEF-D611-49E4-9D72-DA783A54B82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A915E5C5-0F3C-40B6-AE60-181785B7E6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1C4F4A70-2809-4CD1-9143-651E3C7A55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B89318-A586-4C32-A8CF-CBF1D042A1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8CF131EC-99F9-4377-A89E-A5944660AA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669977"/>
      </p:ext>
    </p:extLst>
  </p:cSld>
  <p:clrMapOvr>
    <a:masterClrMapping/>
  </p:clrMapOvr>
  <p:transition spd="slow">
    <p:wip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43413B-18DD-49AB-B681-302FC2C2C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3473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43413B-18DD-49AB-B681-302FC2C2C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C2FC1F4-0A24-48B8-9662-BA5C606A3E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7F693E3-7006-45FD-8D55-73813DE0AC0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03949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D26B49F-CCAE-47BE-A80D-261564C756D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01E7ED81-0E0C-4A0A-998F-99763A037D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80B02F72-F34A-462E-B197-A7FEC330C3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E1DCDD-6CB4-4CD0-9F6C-DB6B62579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7CAE8CF-66B8-436E-A028-3ACD811A66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747861"/>
      </p:ext>
    </p:extLst>
  </p:cSld>
  <p:clrMapOvr>
    <a:masterClrMapping/>
  </p:clrMapOvr>
  <p:transition spd="slow">
    <p:wip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graph o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43413B-18DD-49AB-B681-302FC2C2C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6284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43413B-18DD-49AB-B681-302FC2C2C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C2FC1F4-0A24-48B8-9662-BA5C606A3E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D26B49F-CCAE-47BE-A80D-261564C756D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01E7ED81-0E0C-4A0A-998F-99763A037D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80B02F72-F34A-462E-B197-A7FEC330C3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E1DCDD-6CB4-4CD0-9F6C-DB6B62579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7CAE8CF-66B8-436E-A028-3ACD811A66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29A830F7-C50F-45B3-8CA1-FDAA228DE8AB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479425" y="3535679"/>
            <a:ext cx="5508625" cy="25571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D855801E-03B2-4E6C-8599-65D490FA039C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6203949" y="3535679"/>
            <a:ext cx="5508625" cy="25571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40F176A4-3FD0-49C6-89EE-CD3FB62299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9425" y="1700213"/>
            <a:ext cx="5496385" cy="16221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endParaRPr lang="en-US"/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B51C8AFB-DCF7-4707-855B-95830E76E59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16191" y="1700213"/>
            <a:ext cx="5496384" cy="16221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927587681"/>
      </p:ext>
    </p:extLst>
  </p:cSld>
  <p:clrMapOvr>
    <a:masterClrMapping/>
  </p:clrMapOvr>
  <p:transition spd="slow">
    <p:wip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43413B-18DD-49AB-B681-302FC2C2C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2489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43413B-18DD-49AB-B681-302FC2C2C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C2FC1F4-0A24-48B8-9662-BA5C606A3E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D26B49F-CCAE-47BE-A80D-261564C756D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01E7ED81-0E0C-4A0A-998F-99763A037D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80B02F72-F34A-462E-B197-A7FEC330C3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E1DCDD-6CB4-4CD0-9F6C-DB6B62579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7CAE8CF-66B8-436E-A028-3ACD811A66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40F176A4-3FD0-49C6-89EE-CD3FB62299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9425" y="1700212"/>
            <a:ext cx="5496385" cy="196957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endParaRPr lang="en-US"/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B51C8AFB-DCF7-4707-855B-95830E76E59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16191" y="1700212"/>
            <a:ext cx="5496384" cy="196957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91C44980-F6BB-4F17-B304-99135FCA6DF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9424" y="3831209"/>
            <a:ext cx="5508625" cy="2261616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35693452-4367-4824-9106-7A0ADB7511F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16191" y="3831209"/>
            <a:ext cx="5508625" cy="2261616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83989482"/>
      </p:ext>
    </p:extLst>
  </p:cSld>
  <p:clrMapOvr>
    <a:masterClrMapping/>
  </p:clrMapOvr>
  <p:transition spd="slow">
    <p:wip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2D536AB-C999-4AE1-B600-8E88F18242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530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2D536AB-C999-4AE1-B600-8E88F18242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2F73D4F-BA64-453A-BF3A-360ED3B41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3600000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7F693E3-7006-45FD-8D55-73813DE0AC0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6225" y="1700213"/>
            <a:ext cx="3600000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5CC9C9F-47FD-492D-9A6E-4201CAFC57F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12125" y="1700213"/>
            <a:ext cx="3600000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F25103-6B92-4A7E-878E-E6358C34A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8C4C60B0-629B-49E1-A2A4-49FE1A3589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517282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2701">
          <p15:clr>
            <a:srgbClr val="FBAE40"/>
          </p15:clr>
        </p15:guide>
        <p15:guide id="2" pos="2576">
          <p15:clr>
            <a:srgbClr val="FBAE40"/>
          </p15:clr>
        </p15:guide>
        <p15:guide id="3" pos="4982">
          <p15:clr>
            <a:srgbClr val="FBAE40"/>
          </p15:clr>
        </p15:guide>
        <p15:guide id="4" pos="510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A0A741E-6018-49E9-B756-97FF3C8EB2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667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A0A741E-6018-49E9-B756-97FF3C8EB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89668B7-F416-4A25-8559-DF9C5F2C4ED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C05605C-E1E9-4476-B25F-F260CEF7674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B31A2D5-E60C-4BB0-A0CC-A5FB2C716A40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394DA46-FC2A-48B3-A731-FC73E7B2A5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6557652-012C-42D4-B4F4-BBCDB60FED5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147BF4-3128-449E-826A-B3A1941E8D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9721716"/>
      </p:ext>
    </p:extLst>
  </p:cSld>
  <p:clrMapOvr>
    <a:masterClrMapping/>
  </p:clrMapOvr>
  <p:transition spd="slow">
    <p:wip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064400" cy="685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476251"/>
            <a:ext cx="3600000" cy="5616574"/>
          </a:xfrm>
        </p:spPr>
        <p:txBody>
          <a:bodyPr rIns="18000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2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20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bene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E916EED-C1C0-4C07-8ADE-F30C7E09591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63800" y="0"/>
            <a:ext cx="4064400" cy="685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7600" y="0"/>
            <a:ext cx="4064400" cy="685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6E77ACF0-52C3-4A1B-AB47-BB7111C42D7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75604" y="517788"/>
            <a:ext cx="1306800" cy="432000"/>
          </a:xfr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2816932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61">
          <p15:clr>
            <a:srgbClr val="FBAE40"/>
          </p15:clr>
        </p15:guide>
        <p15:guide id="3" pos="5112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g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6096000" cy="685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0"/>
            <a:ext cx="6096000" cy="685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E44522B2-F06F-46A4-B67B-A54ECCA8166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4" y="476251"/>
            <a:ext cx="5508625" cy="5616574"/>
          </a:xfrm>
        </p:spPr>
        <p:txBody>
          <a:bodyPr rIns="180000"/>
          <a:lstStyle>
            <a:lvl1pPr>
              <a:lnSpc>
                <a:spcPct val="100000"/>
              </a:lnSpc>
              <a:defRPr lang="de-DE" sz="48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32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bene</a:t>
            </a:r>
          </a:p>
          <a:p>
            <a:pPr lvl="4"/>
            <a:endParaRPr lang="en-US" noProof="0"/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5771E962-602C-4AEB-9A2D-6687C77B8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75604" y="517788"/>
            <a:ext cx="1306800" cy="432000"/>
          </a:xfr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236996"/>
      </p:ext>
    </p:extLst>
  </p:cSld>
  <p:clrMapOvr>
    <a:masterClrMapping/>
  </p:clrMapOvr>
  <p:transition spd="slow">
    <p:wip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g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0E8182E1-0AC6-4F46-B3FB-54439F2539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4" y="476251"/>
            <a:ext cx="5508625" cy="5616574"/>
          </a:xfrm>
        </p:spPr>
        <p:txBody>
          <a:bodyPr rIns="180000"/>
          <a:lstStyle>
            <a:lvl1pPr>
              <a:lnSpc>
                <a:spcPct val="100000"/>
              </a:lnSpc>
              <a:defRPr lang="de-DE" sz="48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32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bene</a:t>
            </a:r>
          </a:p>
          <a:p>
            <a:pPr lvl="4"/>
            <a:endParaRPr lang="en-US" noProof="0"/>
          </a:p>
        </p:txBody>
      </p:sp>
      <p:sp>
        <p:nvSpPr>
          <p:cNvPr id="7" name="Textplatzhalter 12">
            <a:extLst>
              <a:ext uri="{FF2B5EF4-FFF2-40B4-BE49-F238E27FC236}">
                <a16:creationId xmlns:a16="http://schemas.microsoft.com/office/drawing/2014/main" id="{34A56934-40D6-4081-8597-7D5F9B1DB62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75604" y="517788"/>
            <a:ext cx="1306800" cy="432000"/>
          </a:xfr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697228"/>
      </p:ext>
    </p:extLst>
  </p:cSld>
  <p:clrMapOvr>
    <a:masterClrMapping/>
  </p:clrMapOvr>
  <p:transition spd="slow">
    <p:wip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g Imagerigh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0"/>
            <a:ext cx="6096000" cy="685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346F01B-CA38-4902-837D-79073D540B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94CE2696-C40A-4CFF-868F-08ACDB127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86433"/>
            <a:ext cx="5508625" cy="962955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663B7F1B-175C-46EE-9051-7F9A29F540C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425" y="131763"/>
            <a:ext cx="5508697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5E237346-3E2F-4DD2-A982-BF457F6049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75604" y="517788"/>
            <a:ext cx="1306800" cy="432000"/>
          </a:xfr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230892"/>
      </p:ext>
    </p:extLst>
  </p:cSld>
  <p:clrMapOvr>
    <a:masterClrMapping/>
  </p:clrMapOvr>
  <p:transition spd="slow">
    <p:wip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A0A741E-6018-49E9-B756-97FF3C8EB2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667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A0A741E-6018-49E9-B756-97FF3C8EB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89668B7-F416-4A25-8559-DF9C5F2C4ED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C05605C-E1E9-4476-B25F-F260CEF7674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394DA46-FC2A-48B3-A731-FC73E7B2A5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6557652-012C-42D4-B4F4-BBCDB60FED5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147BF4-3128-449E-826A-B3A1941E8D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127BAC69-BA92-4B29-90AE-BFBE5F8F5A8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419168"/>
      </p:ext>
    </p:extLst>
  </p:cSld>
  <p:clrMapOvr>
    <a:masterClrMapping/>
  </p:clrMapOvr>
  <p:transition spd="slow">
    <p:wip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47F837E3-A352-47C5-896C-79CE216855B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DCD2D3E1-BF04-49BA-9ABD-16507134B3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510596DF-A0CD-4CBF-B29B-072B676B80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84894795"/>
      </p:ext>
    </p:extLst>
  </p:cSld>
  <p:clrMapOvr>
    <a:masterClrMapping/>
  </p:clrMapOvr>
  <p:transition spd="slow">
    <p:wip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ize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DB96936-4807-4578-8EB2-6ECD168BFE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5640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DB96936-4807-4578-8EB2-6ECD168BFE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441FDCE-2983-41C6-8A78-57C9BD2AA6E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3110B0BD-4F20-4AD2-A47E-04397F684BE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9C5461-D5EA-4602-ABFD-1AB77F41D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DE7ED74-CE7B-4C24-A77C-517CCBBD3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2B3C37-C8E0-45AA-8EEB-A47F4840C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7F05EA4-D3CA-42BD-BE16-DE4F10B14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3223372"/>
      </p:ext>
    </p:extLst>
  </p:cSld>
  <p:clrMapOvr>
    <a:masterClrMapping/>
  </p:clrMapOvr>
  <p:transition spd="slow">
    <p:wip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624FB37B-3025-4DE4-9926-B6DFCC0B1C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0595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624FB37B-3025-4DE4-9926-B6DFCC0B1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A53803A-858A-4ABA-ACA8-350C727362D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3110B0BD-4F20-4AD2-A47E-04397F684BE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064400" cy="34308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C2FBF6A0-2A98-4272-801F-E5E5C8A9330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3427200"/>
            <a:ext cx="4064400" cy="34308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521F19F4-0081-405A-9FFC-547D935336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063800" y="3427200"/>
            <a:ext cx="4064400" cy="34308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71EDF6C2-AA7D-4F89-A67F-8717496E07C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7600" y="0"/>
            <a:ext cx="4064400" cy="34308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1396492-B460-420D-A8AE-A4D8D0B3E3F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27600" y="3427200"/>
            <a:ext cx="4064400" cy="34308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9C5461-D5EA-4602-ABFD-1AB77F41D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DE7ED74-CE7B-4C24-A77C-517CCBBD3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2B3C37-C8E0-45AA-8EEB-A47F4840C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EF5BD2D1-6604-482B-B501-CC3B55774AD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63800" y="0"/>
            <a:ext cx="4064400" cy="34308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3CABFA-1BF9-438F-8452-5E6A60B02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5187792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57">
          <p15:clr>
            <a:srgbClr val="FBAE40"/>
          </p15:clr>
        </p15:guide>
        <p15:guide id="4" pos="511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-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43413B-18DD-49AB-B681-302FC2C2C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43413B-18DD-49AB-B681-302FC2C2C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C2FC1F4-0A24-48B8-9662-BA5C606A3E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7F693E3-7006-45FD-8D55-73813DE0AC0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03949" y="1700213"/>
            <a:ext cx="5508625" cy="189642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D26B49F-CCAE-47BE-A80D-261564C756D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01E7ED81-0E0C-4A0A-998F-99763A037D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80B02F72-F34A-462E-B197-A7FEC330C3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E1DCDD-6CB4-4CD0-9F6C-DB6B62579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7CAE8CF-66B8-436E-A028-3ACD811A66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1A132469-C479-4E67-A993-8FFF3DDBC199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479425" y="1700213"/>
            <a:ext cx="5508625" cy="189642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345F99B3-D4D6-4F4E-80E8-14BC40EBEA4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9425" y="3831209"/>
            <a:ext cx="2628000" cy="2261616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A1744E1-A5CE-4500-8CA8-80BFB18E773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360050" y="3831209"/>
            <a:ext cx="2628000" cy="2261616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547482D6-16E5-47A6-9576-105D0EFBB21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03949" y="3831209"/>
            <a:ext cx="2628000" cy="2261616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50498C11-ED30-4777-B119-B3B4141FA3F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84574" y="3831209"/>
            <a:ext cx="2628000" cy="2261616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83203901"/>
      </p:ext>
    </p:extLst>
  </p:cSld>
  <p:clrMapOvr>
    <a:masterClrMapping/>
  </p:clrMapOvr>
  <p:transition spd="slow">
    <p:wip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portuni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4738E9-A822-41DD-9206-30228D493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E6B384-A395-4A6D-969A-FD96FF4321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2EE291E-ADAA-49CB-B9FE-AAE0B4D7A2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023143-8973-4D38-9205-53E025576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39CF8D56-A87D-4642-976C-129FCEDFD47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8390898-1F5A-4E18-965A-3CFC77F7E2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9425" y="1700213"/>
            <a:ext cx="9864000" cy="7560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BDFD064E-68CA-4F0F-B3E4-DF467C70D8B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9425" y="2609367"/>
            <a:ext cx="9864000" cy="7560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B1245AD0-0AF8-4442-AE0A-4888BC7DBE0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79425" y="3518521"/>
            <a:ext cx="9864000" cy="7560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4C59374-0703-4A0D-8893-016F6AF1583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425" y="4427675"/>
            <a:ext cx="9864000" cy="7560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0E3B5C1-C23B-427D-BCAA-A0A0C92628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79425" y="5336825"/>
            <a:ext cx="9864000" cy="7560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32C9BC06-48B4-4150-B417-E7205484EFE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0476711" y="1700213"/>
            <a:ext cx="1216025" cy="756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/>
            </a:lvl1pPr>
          </a:lstStyle>
          <a:p>
            <a:pPr lvl="0"/>
            <a:endParaRPr lang="en-US"/>
          </a:p>
        </p:txBody>
      </p:sp>
      <p:sp>
        <p:nvSpPr>
          <p:cNvPr id="15" name="Bildplatzhalter 13">
            <a:extLst>
              <a:ext uri="{FF2B5EF4-FFF2-40B4-BE49-F238E27FC236}">
                <a16:creationId xmlns:a16="http://schemas.microsoft.com/office/drawing/2014/main" id="{F1144F1E-65FC-42D5-9D5A-C4DA336D23F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10476711" y="2609366"/>
            <a:ext cx="1216025" cy="756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/>
            </a:lvl1pPr>
          </a:lstStyle>
          <a:p>
            <a:pPr lvl="0"/>
            <a:endParaRPr lang="en-US"/>
          </a:p>
        </p:txBody>
      </p:sp>
      <p:sp>
        <p:nvSpPr>
          <p:cNvPr id="16" name="Bildplatzhalter 13">
            <a:extLst>
              <a:ext uri="{FF2B5EF4-FFF2-40B4-BE49-F238E27FC236}">
                <a16:creationId xmlns:a16="http://schemas.microsoft.com/office/drawing/2014/main" id="{6440227A-4D1F-4BD9-9642-40059E77259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476711" y="3518519"/>
            <a:ext cx="1216025" cy="756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/>
            </a:lvl1pPr>
          </a:lstStyle>
          <a:p>
            <a:pPr lvl="0"/>
            <a:endParaRPr lang="en-US"/>
          </a:p>
        </p:txBody>
      </p:sp>
      <p:sp>
        <p:nvSpPr>
          <p:cNvPr id="17" name="Bildplatzhalter 13">
            <a:extLst>
              <a:ext uri="{FF2B5EF4-FFF2-40B4-BE49-F238E27FC236}">
                <a16:creationId xmlns:a16="http://schemas.microsoft.com/office/drawing/2014/main" id="{A0C6E177-6C7E-411A-BAAA-C4D74F80635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0476711" y="4427672"/>
            <a:ext cx="1216025" cy="756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/>
            </a:lvl1pPr>
          </a:lstStyle>
          <a:p>
            <a:pPr lvl="0"/>
            <a:endParaRPr lang="en-US"/>
          </a:p>
        </p:txBody>
      </p:sp>
      <p:sp>
        <p:nvSpPr>
          <p:cNvPr id="18" name="Bildplatzhalter 13">
            <a:extLst>
              <a:ext uri="{FF2B5EF4-FFF2-40B4-BE49-F238E27FC236}">
                <a16:creationId xmlns:a16="http://schemas.microsoft.com/office/drawing/2014/main" id="{36C464E3-BA9C-43A7-AD1C-A7B63E0CD59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0476711" y="5336825"/>
            <a:ext cx="1216025" cy="756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/>
            </a:lvl1pPr>
          </a:lstStyle>
          <a:p>
            <a:pPr lvl="0"/>
            <a:endParaRPr lang="en-US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9D3E26F5-B722-4BE2-B93B-41ADA5476EB6}"/>
              </a:ext>
            </a:extLst>
          </p:cNvPr>
          <p:cNvCxnSpPr/>
          <p:nvPr userDrawn="1"/>
        </p:nvCxnSpPr>
        <p:spPr>
          <a:xfrm>
            <a:off x="479425" y="2532790"/>
            <a:ext cx="98640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86773414-49DF-4126-BC86-847AB458B59A}"/>
              </a:ext>
            </a:extLst>
          </p:cNvPr>
          <p:cNvCxnSpPr/>
          <p:nvPr userDrawn="1"/>
        </p:nvCxnSpPr>
        <p:spPr>
          <a:xfrm>
            <a:off x="479425" y="3441944"/>
            <a:ext cx="98640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1722DBCC-304C-42D1-BA3E-78C487F4204F}"/>
              </a:ext>
            </a:extLst>
          </p:cNvPr>
          <p:cNvCxnSpPr/>
          <p:nvPr userDrawn="1"/>
        </p:nvCxnSpPr>
        <p:spPr>
          <a:xfrm>
            <a:off x="479425" y="4351098"/>
            <a:ext cx="98640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4FA874E3-22E7-4DC0-A104-BDF60A37590F}"/>
              </a:ext>
            </a:extLst>
          </p:cNvPr>
          <p:cNvCxnSpPr/>
          <p:nvPr userDrawn="1"/>
        </p:nvCxnSpPr>
        <p:spPr>
          <a:xfrm>
            <a:off x="479425" y="5260251"/>
            <a:ext cx="98640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0677060"/>
      </p:ext>
    </p:extLst>
  </p:cSld>
  <p:clrMapOvr>
    <a:masterClrMapping/>
  </p:clrMapOvr>
  <p:transition spd="slow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47F837E3-A352-47C5-896C-79CE216855B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293FDC5-A627-4C32-994A-4D25498AC2AE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DCD2D3E1-BF04-49BA-9ABD-16507134B3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510596DF-A0CD-4CBF-B29B-072B676B80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66531268"/>
      </p:ext>
    </p:extLst>
  </p:cSld>
  <p:clrMapOvr>
    <a:masterClrMapping/>
  </p:clrMapOvr>
  <p:transition spd="slow">
    <p:wip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79FED69-6DE7-4E7D-AE8C-AAD3C4D8DD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79FED69-6DE7-4E7D-AE8C-AAD3C4D8DD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69830B1-0A78-4462-A1A2-A0468147684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1700215"/>
            <a:ext cx="6096000" cy="439261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dirty="0"/>
            </a:lvl1pPr>
          </a:lstStyle>
          <a:p>
            <a:pPr lvl="0"/>
            <a:endParaRPr lang="en-US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BFDBD25-E82B-4088-9526-55824523D1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5"/>
            <a:ext cx="5508626" cy="43926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/>
          </a:p>
          <a:p>
            <a:pPr lvl="4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5CD5818-EB67-4A0B-8812-D5408EFAD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EEC31AF-0CF8-4DC5-A2A2-28436E79D1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595073"/>
      </p:ext>
    </p:extLst>
  </p:cSld>
  <p:clrMapOvr>
    <a:masterClrMapping/>
  </p:clrMapOvr>
  <p:transition spd="slow">
    <p:wip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he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BFDBD25-E82B-4088-9526-55824523D1F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63800" y="0"/>
            <a:ext cx="4064400" cy="3430800"/>
          </a:xfrm>
          <a:solidFill>
            <a:srgbClr val="7AE1BF"/>
          </a:solidFill>
        </p:spPr>
        <p:txBody>
          <a:bodyPr lIns="144000" tIns="1188000" rIns="288000" bIns="144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600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/>
          </a:p>
          <a:p>
            <a:pPr lvl="4"/>
            <a:endParaRPr lang="en-US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12DB674-BF65-4450-B314-FD69395DE034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063800" y="3427200"/>
            <a:ext cx="4064400" cy="3430800"/>
          </a:xfrm>
          <a:solidFill>
            <a:srgbClr val="007398"/>
          </a:solidFill>
        </p:spPr>
        <p:txBody>
          <a:bodyPr lIns="144000" tIns="288000" rIns="288000" bIns="144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lang="en-US" sz="1600" b="1" kern="1200" cap="none" spc="0" baseline="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/>
          </a:p>
          <a:p>
            <a:pPr lvl="4"/>
            <a:endParaRPr lang="en-US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6B183A3-B0C2-4524-ABEB-7AD27842F5E8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8127600" y="0"/>
            <a:ext cx="4064400" cy="3430800"/>
          </a:xfrm>
          <a:solidFill>
            <a:srgbClr val="FFA38B"/>
          </a:solidFill>
        </p:spPr>
        <p:txBody>
          <a:bodyPr lIns="144000" tIns="1188000" rIns="288000" bIns="144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lang="en-US" sz="1600" b="1" kern="1200" cap="none" spc="0" baseline="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/>
          </a:p>
          <a:p>
            <a:pPr lvl="4"/>
            <a:endParaRPr lang="en-US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8D434408-2B64-439E-9012-4FBB68F43F1C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8127600" y="3427200"/>
            <a:ext cx="4064400" cy="3430800"/>
          </a:xfrm>
          <a:solidFill>
            <a:srgbClr val="E03E52"/>
          </a:solidFill>
        </p:spPr>
        <p:txBody>
          <a:bodyPr lIns="144000" tIns="288000" rIns="288000" bIns="144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lang="en-US" sz="1600" b="1" kern="1200" cap="none" spc="0" baseline="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/>
          </a:p>
          <a:p>
            <a:pPr lvl="4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79FED69-6DE7-4E7D-AE8C-AAD3C4D8DD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79FED69-6DE7-4E7D-AE8C-AAD3C4D8DD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69830B1-0A78-4462-A1A2-A0468147684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5CD5818-EB67-4A0B-8812-D5408EFAD6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86433"/>
            <a:ext cx="3456000" cy="96295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EEC31AF-0CF8-4DC5-A2A2-28436E79D1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9425" y="131763"/>
            <a:ext cx="3456000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36" name="Inhaltsplatzhalter 2">
            <a:extLst>
              <a:ext uri="{FF2B5EF4-FFF2-40B4-BE49-F238E27FC236}">
                <a16:creationId xmlns:a16="http://schemas.microsoft.com/office/drawing/2014/main" id="{76E1FC30-8325-4E71-99D8-7E344A0B6E65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479425" y="1700215"/>
            <a:ext cx="3456000" cy="43926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/>
          </a:p>
          <a:p>
            <a:pPr lvl="4"/>
            <a:endParaRPr lang="en-US"/>
          </a:p>
        </p:txBody>
      </p:sp>
      <p:sp>
        <p:nvSpPr>
          <p:cNvPr id="38" name="Textplatzhalter 12">
            <a:extLst>
              <a:ext uri="{FF2B5EF4-FFF2-40B4-BE49-F238E27FC236}">
                <a16:creationId xmlns:a16="http://schemas.microsoft.com/office/drawing/2014/main" id="{1584DC02-F84D-494A-A462-39A70433644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575604" y="517788"/>
            <a:ext cx="1306800" cy="432000"/>
          </a:xfrm>
          <a:blipFill dpi="0" rotWithShape="0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340319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2557">
          <p15:clr>
            <a:srgbClr val="FBAE40"/>
          </p15:clr>
        </p15:guide>
        <p15:guide id="2" pos="511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+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A5A42E-6C8D-499C-8902-02CE74169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51EDD5-8EE7-471D-96CD-9D8D366E0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61DE74-C528-4BC6-90EA-13918291F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CABD1D-971A-404E-8181-44AF2D964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6D70B69D-EF83-43D7-8DC7-30ABD8CA75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F1BBADD8-E8E6-46A5-9CD0-B3A9B013F26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9425" y="4571999"/>
            <a:ext cx="2628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84A61D96-409B-40F5-95BF-79F44377956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347808" y="4571999"/>
            <a:ext cx="2628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9BAE9B88-9416-4E99-A309-1B84559104B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16191" y="4571999"/>
            <a:ext cx="2628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4C549D0-8A17-459F-B661-82336CE280C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84574" y="4571999"/>
            <a:ext cx="2628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3817B74-B908-45ED-8843-9EB0FF752B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9425" y="1700213"/>
            <a:ext cx="2627313" cy="2655995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584A6793-2005-42E2-8B7D-76935EE7A44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47808" y="1700213"/>
            <a:ext cx="2627313" cy="2655995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0FF710C6-DDFB-46F7-BC26-FDB534B680F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16191" y="1700213"/>
            <a:ext cx="2627313" cy="2655995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636050DD-54D2-468D-98FE-CC44ED956D4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84574" y="1700213"/>
            <a:ext cx="2627313" cy="2655995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27BF6C1-52B6-4CAD-91A3-34F342729A02}"/>
              </a:ext>
            </a:extLst>
          </p:cNvPr>
          <p:cNvCxnSpPr/>
          <p:nvPr userDrawn="1"/>
        </p:nvCxnSpPr>
        <p:spPr>
          <a:xfrm>
            <a:off x="3227273" y="1700213"/>
            <a:ext cx="0" cy="439261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2999D7C6-A1BB-4FC3-BF66-E13A0F758B3C}"/>
              </a:ext>
            </a:extLst>
          </p:cNvPr>
          <p:cNvCxnSpPr/>
          <p:nvPr userDrawn="1"/>
        </p:nvCxnSpPr>
        <p:spPr>
          <a:xfrm>
            <a:off x="6095656" y="1700213"/>
            <a:ext cx="0" cy="439261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AC1271-25AE-4124-B6F3-6BE364680DCB}"/>
              </a:ext>
            </a:extLst>
          </p:cNvPr>
          <p:cNvCxnSpPr/>
          <p:nvPr userDrawn="1"/>
        </p:nvCxnSpPr>
        <p:spPr>
          <a:xfrm>
            <a:off x="8964039" y="1700213"/>
            <a:ext cx="0" cy="439261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057114"/>
      </p:ext>
    </p:extLst>
  </p:cSld>
  <p:clrMapOvr>
    <a:masterClrMapping/>
  </p:clrMapOvr>
  <p:transition spd="slow">
    <p:wip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A5A42E-6C8D-499C-8902-02CE74169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51EDD5-8EE7-471D-96CD-9D8D366E0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61DE74-C528-4BC6-90EA-13918291F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CABD1D-971A-404E-8181-44AF2D964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6D70B69D-EF83-43D7-8DC7-30ABD8CA75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3817B74-B908-45ED-8843-9EB0FF752B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9425" y="1700213"/>
            <a:ext cx="2627313" cy="4392612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584A6793-2005-42E2-8B7D-76935EE7A44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47808" y="1700213"/>
            <a:ext cx="2627313" cy="4392612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0FF710C6-DDFB-46F7-BC26-FDB534B680F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16191" y="1700213"/>
            <a:ext cx="2627313" cy="4392612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636050DD-54D2-468D-98FE-CC44ED956D4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84574" y="1700213"/>
            <a:ext cx="2627313" cy="4392612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27BF6C1-52B6-4CAD-91A3-34F342729A02}"/>
              </a:ext>
            </a:extLst>
          </p:cNvPr>
          <p:cNvCxnSpPr/>
          <p:nvPr userDrawn="1"/>
        </p:nvCxnSpPr>
        <p:spPr>
          <a:xfrm>
            <a:off x="3227273" y="1700213"/>
            <a:ext cx="0" cy="439261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2999D7C6-A1BB-4FC3-BF66-E13A0F758B3C}"/>
              </a:ext>
            </a:extLst>
          </p:cNvPr>
          <p:cNvCxnSpPr/>
          <p:nvPr userDrawn="1"/>
        </p:nvCxnSpPr>
        <p:spPr>
          <a:xfrm>
            <a:off x="6095656" y="1700213"/>
            <a:ext cx="0" cy="439261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AC1271-25AE-4124-B6F3-6BE364680DCB}"/>
              </a:ext>
            </a:extLst>
          </p:cNvPr>
          <p:cNvCxnSpPr/>
          <p:nvPr userDrawn="1"/>
        </p:nvCxnSpPr>
        <p:spPr>
          <a:xfrm>
            <a:off x="8964039" y="1700213"/>
            <a:ext cx="0" cy="439261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2384155"/>
      </p:ext>
    </p:extLst>
  </p:cSld>
  <p:clrMapOvr>
    <a:masterClrMapping/>
  </p:clrMapOvr>
  <p:transition spd="slow">
    <p:wip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+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A5A42E-6C8D-499C-8902-02CE74169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51EDD5-8EE7-471D-96CD-9D8D366E0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61DE74-C528-4BC6-90EA-13918291F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CABD1D-971A-404E-8181-44AF2D964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6D70B69D-EF83-43D7-8DC7-30ABD8CA75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F1BBADD8-E8E6-46A5-9CD0-B3A9B013F26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9425" y="4571999"/>
            <a:ext cx="1224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3817B74-B908-45ED-8843-9EB0FF752B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9425" y="1700213"/>
            <a:ext cx="2627313" cy="2655995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584A6793-2005-42E2-8B7D-76935EE7A44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47808" y="1700213"/>
            <a:ext cx="2627313" cy="2655995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0FF710C6-DDFB-46F7-BC26-FDB534B680F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216191" y="1700213"/>
            <a:ext cx="2627313" cy="2655995"/>
          </a:xfrm>
        </p:spPr>
        <p:txBody>
          <a:bodyPr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636050DD-54D2-468D-98FE-CC44ED956D4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84574" y="1700213"/>
            <a:ext cx="2627313" cy="2655995"/>
          </a:xfrm>
        </p:spPr>
        <p:txBody>
          <a:bodyPr/>
          <a:lstStyle>
            <a:lvl1pPr>
              <a:spcBef>
                <a:spcPts val="300"/>
              </a:spcBef>
              <a:defRPr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F27BF6C1-52B6-4CAD-91A3-34F342729A02}"/>
              </a:ext>
            </a:extLst>
          </p:cNvPr>
          <p:cNvCxnSpPr/>
          <p:nvPr userDrawn="1"/>
        </p:nvCxnSpPr>
        <p:spPr>
          <a:xfrm>
            <a:off x="3227273" y="1700213"/>
            <a:ext cx="0" cy="439261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2999D7C6-A1BB-4FC3-BF66-E13A0F758B3C}"/>
              </a:ext>
            </a:extLst>
          </p:cNvPr>
          <p:cNvCxnSpPr/>
          <p:nvPr userDrawn="1"/>
        </p:nvCxnSpPr>
        <p:spPr>
          <a:xfrm>
            <a:off x="6095656" y="1700213"/>
            <a:ext cx="0" cy="439261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FAC1271-25AE-4124-B6F3-6BE364680DCB}"/>
              </a:ext>
            </a:extLst>
          </p:cNvPr>
          <p:cNvCxnSpPr/>
          <p:nvPr userDrawn="1"/>
        </p:nvCxnSpPr>
        <p:spPr>
          <a:xfrm>
            <a:off x="8964039" y="1700213"/>
            <a:ext cx="0" cy="4392612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F9D314B8-A5EC-4C98-AF3A-B50B6DC311F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870497" y="4571999"/>
            <a:ext cx="1224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2B4C31F4-A80C-4B2E-A3E0-77D6CF098BA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3360049" y="4571999"/>
            <a:ext cx="1224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C25CB1D0-51DF-40A2-8259-6EBA23881F8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751121" y="4571999"/>
            <a:ext cx="1224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ED0642C4-CE5B-4881-B7CE-A9D6189BE1F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228431" y="4571999"/>
            <a:ext cx="1224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DF17C1FA-884E-4B6A-B95F-ED6294ACEA0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7619503" y="4571999"/>
            <a:ext cx="1224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DFE66770-E946-44C5-9CE4-3E03803AC74F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9097505" y="4571999"/>
            <a:ext cx="1224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1E16CD-61C3-4A47-96E8-01F43FF969A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0488577" y="4571999"/>
            <a:ext cx="1224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74938308"/>
      </p:ext>
    </p:extLst>
  </p:cSld>
  <p:clrMapOvr>
    <a:masterClrMapping/>
  </p:clrMapOvr>
  <p:transition spd="slow">
    <p:wip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A5A42E-6C8D-499C-8902-02CE74169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51EDD5-8EE7-471D-96CD-9D8D366E0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61DE74-C528-4BC6-90EA-13918291F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CABD1D-971A-404E-8181-44AF2D964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6D70B69D-EF83-43D7-8DC7-30ABD8CA75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F1BBADD8-E8E6-46A5-9CD0-B3A9B013F26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9425" y="4571999"/>
            <a:ext cx="2628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84A61D96-409B-40F5-95BF-79F44377956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360050" y="4571999"/>
            <a:ext cx="2628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9BAE9B88-9416-4E99-A309-1B84559104B4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203949" y="4571999"/>
            <a:ext cx="2628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4C549D0-8A17-459F-B661-82336CE280C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84574" y="4571999"/>
            <a:ext cx="2628000" cy="1520825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3817B74-B908-45ED-8843-9EB0FF752B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9425" y="1700213"/>
            <a:ext cx="11233150" cy="265599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1678908"/>
      </p:ext>
    </p:extLst>
  </p:cSld>
  <p:clrMapOvr>
    <a:masterClrMapping/>
  </p:clrMapOvr>
  <p:transition spd="slow">
    <p:wip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1D3CC055-008E-411F-9E7B-39CF6C7B1A9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127600" y="0"/>
            <a:ext cx="4064400" cy="685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 vert="horz" lIns="0" tIns="0" rIns="0" bIns="0" rtlCol="0">
            <a:noAutofit/>
          </a:bodyPr>
          <a:lstStyle>
            <a:lvl1pPr>
              <a:defRPr lang="en-US" sz="1200" noProof="0"/>
            </a:lvl1pPr>
          </a:lstStyle>
          <a:p>
            <a:pPr lvl="0"/>
            <a:endParaRPr lang="en-US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2A5A42E-6C8D-499C-8902-02CE74169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86433"/>
            <a:ext cx="7450630" cy="96295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51EDD5-8EE7-471D-96CD-9D8D366E0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61DE74-C528-4BC6-90EA-13918291F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CABD1D-971A-404E-8181-44AF2D964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6D70B69D-EF83-43D7-8DC7-30ABD8CA75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7452000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3817B74-B908-45ED-8843-9EB0FF752B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9425" y="1700213"/>
            <a:ext cx="7452000" cy="43926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E0A7C810-0237-4132-AE0E-FEFCAB446EB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75604" y="517788"/>
            <a:ext cx="1306800" cy="432000"/>
          </a:xfrm>
          <a:blipFill dpi="0" rotWithShape="0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DE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842094"/>
      </p:ext>
    </p:extLst>
  </p:cSld>
  <p:clrMapOvr>
    <a:masterClrMapping/>
  </p:clrMapOvr>
  <p:transition spd="slow">
    <p:wip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A5A42E-6C8D-499C-8902-02CE74169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51EDD5-8EE7-471D-96CD-9D8D366E0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61DE74-C528-4BC6-90EA-13918291F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CABD1D-971A-404E-8181-44AF2D9641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6D70B69D-EF83-43D7-8DC7-30ABD8CA75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4C549D0-8A17-459F-B661-82336CE280C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84574" y="1700214"/>
            <a:ext cx="2628000" cy="208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3817B74-B908-45ED-8843-9EB0FF752B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9426" y="1700214"/>
            <a:ext cx="2627313" cy="20880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>
              <a:lnSpc>
                <a:spcPct val="110000"/>
              </a:lnSpc>
              <a:spcBef>
                <a:spcPts val="300"/>
              </a:spcBef>
              <a:defRPr sz="1400"/>
            </a:lvl1pPr>
            <a:lvl2pPr>
              <a:lnSpc>
                <a:spcPct val="110000"/>
              </a:lnSpc>
              <a:spcBef>
                <a:spcPts val="300"/>
              </a:spcBef>
              <a:defRPr sz="1200"/>
            </a:lvl2pPr>
            <a:lvl3pPr>
              <a:lnSpc>
                <a:spcPct val="110000"/>
              </a:lnSpc>
              <a:spcBef>
                <a:spcPts val="300"/>
              </a:spcBef>
              <a:defRPr sz="1200"/>
            </a:lvl3pPr>
            <a:lvl4pPr>
              <a:lnSpc>
                <a:spcPct val="110000"/>
              </a:lnSpc>
              <a:spcBef>
                <a:spcPts val="300"/>
              </a:spcBef>
              <a:defRPr sz="1200"/>
            </a:lvl4pPr>
            <a:lvl5pPr>
              <a:lnSpc>
                <a:spcPct val="110000"/>
              </a:lnSpc>
              <a:spcBef>
                <a:spcPts val="300"/>
              </a:spcBef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47319B1A-2B4B-49CD-956F-CA355A244DF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79426" y="4004824"/>
            <a:ext cx="2627313" cy="20880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>
              <a:lnSpc>
                <a:spcPct val="110000"/>
              </a:lnSpc>
              <a:spcBef>
                <a:spcPts val="300"/>
              </a:spcBef>
              <a:defRPr sz="1400"/>
            </a:lvl1pPr>
            <a:lvl2pPr>
              <a:lnSpc>
                <a:spcPct val="110000"/>
              </a:lnSpc>
              <a:spcBef>
                <a:spcPts val="300"/>
              </a:spcBef>
              <a:defRPr sz="1200"/>
            </a:lvl2pPr>
            <a:lvl3pPr>
              <a:lnSpc>
                <a:spcPct val="110000"/>
              </a:lnSpc>
              <a:spcBef>
                <a:spcPts val="300"/>
              </a:spcBef>
              <a:defRPr sz="1200"/>
            </a:lvl3pPr>
            <a:lvl4pPr>
              <a:lnSpc>
                <a:spcPct val="110000"/>
              </a:lnSpc>
              <a:spcBef>
                <a:spcPts val="300"/>
              </a:spcBef>
              <a:defRPr sz="1200"/>
            </a:lvl4pPr>
            <a:lvl5pPr>
              <a:lnSpc>
                <a:spcPct val="110000"/>
              </a:lnSpc>
              <a:spcBef>
                <a:spcPts val="300"/>
              </a:spcBef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4158357F-81BD-412D-B4CB-4E26F8807FD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347809" y="1700214"/>
            <a:ext cx="2627313" cy="20880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>
              <a:lnSpc>
                <a:spcPct val="110000"/>
              </a:lnSpc>
              <a:spcBef>
                <a:spcPts val="300"/>
              </a:spcBef>
              <a:defRPr sz="1400"/>
            </a:lvl1pPr>
            <a:lvl2pPr>
              <a:lnSpc>
                <a:spcPct val="110000"/>
              </a:lnSpc>
              <a:spcBef>
                <a:spcPts val="300"/>
              </a:spcBef>
              <a:defRPr sz="1200"/>
            </a:lvl2pPr>
            <a:lvl3pPr>
              <a:lnSpc>
                <a:spcPct val="110000"/>
              </a:lnSpc>
              <a:spcBef>
                <a:spcPts val="300"/>
              </a:spcBef>
              <a:defRPr sz="1200"/>
            </a:lvl3pPr>
            <a:lvl4pPr>
              <a:lnSpc>
                <a:spcPct val="110000"/>
              </a:lnSpc>
              <a:spcBef>
                <a:spcPts val="300"/>
              </a:spcBef>
              <a:defRPr sz="1200"/>
            </a:lvl4pPr>
            <a:lvl5pPr>
              <a:lnSpc>
                <a:spcPct val="110000"/>
              </a:lnSpc>
              <a:spcBef>
                <a:spcPts val="300"/>
              </a:spcBef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E573BF25-ABB5-44D7-ACCB-042632F8A01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47807" y="4004824"/>
            <a:ext cx="2627313" cy="20880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>
              <a:lnSpc>
                <a:spcPct val="110000"/>
              </a:lnSpc>
              <a:spcBef>
                <a:spcPts val="300"/>
              </a:spcBef>
              <a:defRPr sz="1400"/>
            </a:lvl1pPr>
            <a:lvl2pPr>
              <a:lnSpc>
                <a:spcPct val="110000"/>
              </a:lnSpc>
              <a:spcBef>
                <a:spcPts val="300"/>
              </a:spcBef>
              <a:defRPr sz="1200"/>
            </a:lvl2pPr>
            <a:lvl3pPr>
              <a:lnSpc>
                <a:spcPct val="110000"/>
              </a:lnSpc>
              <a:spcBef>
                <a:spcPts val="300"/>
              </a:spcBef>
              <a:defRPr sz="1200"/>
            </a:lvl3pPr>
            <a:lvl4pPr>
              <a:lnSpc>
                <a:spcPct val="110000"/>
              </a:lnSpc>
              <a:spcBef>
                <a:spcPts val="300"/>
              </a:spcBef>
              <a:defRPr sz="1200"/>
            </a:lvl4pPr>
            <a:lvl5pPr>
              <a:lnSpc>
                <a:spcPct val="110000"/>
              </a:lnSpc>
              <a:spcBef>
                <a:spcPts val="300"/>
              </a:spcBef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EF97FD94-D989-4CB2-B820-029CB99A254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216189" y="1700214"/>
            <a:ext cx="2627313" cy="20880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>
              <a:lnSpc>
                <a:spcPct val="110000"/>
              </a:lnSpc>
              <a:spcBef>
                <a:spcPts val="300"/>
              </a:spcBef>
              <a:defRPr sz="1400"/>
            </a:lvl1pPr>
            <a:lvl2pPr>
              <a:lnSpc>
                <a:spcPct val="110000"/>
              </a:lnSpc>
              <a:spcBef>
                <a:spcPts val="300"/>
              </a:spcBef>
              <a:defRPr sz="1200"/>
            </a:lvl2pPr>
            <a:lvl3pPr>
              <a:lnSpc>
                <a:spcPct val="110000"/>
              </a:lnSpc>
              <a:spcBef>
                <a:spcPts val="300"/>
              </a:spcBef>
              <a:defRPr sz="1200"/>
            </a:lvl3pPr>
            <a:lvl4pPr>
              <a:lnSpc>
                <a:spcPct val="110000"/>
              </a:lnSpc>
              <a:spcBef>
                <a:spcPts val="300"/>
              </a:spcBef>
              <a:defRPr sz="1200"/>
            </a:lvl4pPr>
            <a:lvl5pPr>
              <a:lnSpc>
                <a:spcPct val="110000"/>
              </a:lnSpc>
              <a:spcBef>
                <a:spcPts val="300"/>
              </a:spcBef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6" name="Textplatzhalter 12">
            <a:extLst>
              <a:ext uri="{FF2B5EF4-FFF2-40B4-BE49-F238E27FC236}">
                <a16:creationId xmlns:a16="http://schemas.microsoft.com/office/drawing/2014/main" id="{EAA0669A-F4F6-4411-AF32-7B4799DA2C6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216189" y="4010854"/>
            <a:ext cx="2627313" cy="20880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>
              <a:lnSpc>
                <a:spcPct val="110000"/>
              </a:lnSpc>
              <a:spcBef>
                <a:spcPts val="300"/>
              </a:spcBef>
              <a:defRPr sz="1400"/>
            </a:lvl1pPr>
            <a:lvl2pPr>
              <a:lnSpc>
                <a:spcPct val="110000"/>
              </a:lnSpc>
              <a:spcBef>
                <a:spcPts val="300"/>
              </a:spcBef>
              <a:defRPr sz="1200"/>
            </a:lvl2pPr>
            <a:lvl3pPr>
              <a:lnSpc>
                <a:spcPct val="110000"/>
              </a:lnSpc>
              <a:spcBef>
                <a:spcPts val="300"/>
              </a:spcBef>
              <a:defRPr sz="1200"/>
            </a:lvl3pPr>
            <a:lvl4pPr>
              <a:lnSpc>
                <a:spcPct val="110000"/>
              </a:lnSpc>
              <a:spcBef>
                <a:spcPts val="300"/>
              </a:spcBef>
              <a:defRPr sz="1200"/>
            </a:lvl4pPr>
            <a:lvl5pPr>
              <a:lnSpc>
                <a:spcPct val="110000"/>
              </a:lnSpc>
              <a:spcBef>
                <a:spcPts val="300"/>
              </a:spcBef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BF58400D-D82C-4FB0-8595-19EA2FE3ED1E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9084574" y="4004824"/>
            <a:ext cx="2628000" cy="2088000"/>
          </a:xfrm>
          <a:pattFill prst="wdUpDiag">
            <a:fgClr>
              <a:schemeClr val="accent5"/>
            </a:fgClr>
            <a:bgClr>
              <a:schemeClr val="bg1"/>
            </a:bgClr>
          </a:pattFill>
        </p:spPr>
        <p:txBody>
          <a:bodyPr/>
          <a:lstStyle>
            <a:lvl1pPr>
              <a:defRPr sz="1200"/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93176318"/>
      </p:ext>
    </p:extLst>
  </p:cSld>
  <p:clrMapOvr>
    <a:masterClrMapping/>
  </p:clrMapOvr>
  <p:transition spd="slow">
    <p:wip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t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C00460-B3CB-4570-89E6-0E2BEAED7D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5292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0" imgH="429" progId="TCLayout.ActiveDocument.1">
                  <p:embed/>
                </p:oleObj>
              </mc:Choice>
              <mc:Fallback>
                <p:oleObj name="think-cell Slide" r:id="rId4" imgW="420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C00460-B3CB-4570-89E6-0E2BEAED7D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7DD112-0CE0-4C90-A8A6-710CBF7530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BB76BB7C-9EB3-4744-8A8A-530012181A0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7000EE5F-C97B-45D9-8069-074DD5C073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3049425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9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30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</p:bld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 big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476251"/>
            <a:ext cx="3600000" cy="5616574"/>
          </a:xfrm>
        </p:spPr>
        <p:txBody>
          <a:bodyPr rIns="18000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2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20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bene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E916EED-C1C0-4C07-8ADE-F30C7E09591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6380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760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738566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61">
          <p15:clr>
            <a:srgbClr val="FBAE40"/>
          </p15:clr>
        </p15:guide>
        <p15:guide id="3" pos="511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21.xml"/><Relationship Id="rId5" Type="http://schemas.openxmlformats.org/officeDocument/2006/relationships/slideLayout" Target="../slideLayouts/slideLayout17.xml"/><Relationship Id="rId10" Type="http://schemas.openxmlformats.org/officeDocument/2006/relationships/tags" Target="../tags/tag20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oleObject" Target="../embeddings/oleObject15.bin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tags" Target="../tags/tag31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ags" Target="../tags/tag30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theme" Target="../theme/theme3.xml"/><Relationship Id="rId28" Type="http://schemas.openxmlformats.org/officeDocument/2006/relationships/image" Target="../media/image8.png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34" Type="http://schemas.openxmlformats.org/officeDocument/2006/relationships/tags" Target="../tags/tag67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tags" Target="../tags/tag66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1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theme" Target="../theme/theme4.xml"/><Relationship Id="rId37" Type="http://schemas.openxmlformats.org/officeDocument/2006/relationships/image" Target="../media/image21.png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oleObject" Target="../embeddings/oleObject3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26" Type="http://schemas.openxmlformats.org/officeDocument/2006/relationships/slideLayout" Target="../slideLayouts/slideLayout99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slideLayout" Target="../slideLayouts/slideLayout98.xml"/><Relationship Id="rId33" Type="http://schemas.openxmlformats.org/officeDocument/2006/relationships/image" Target="../media/image21.png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29" Type="http://schemas.openxmlformats.org/officeDocument/2006/relationships/tags" Target="../tags/tag98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slideLayout" Target="../slideLayouts/slideLayout97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31" Type="http://schemas.openxmlformats.org/officeDocument/2006/relationships/oleObject" Target="../embeddings/oleObject49.bin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100.xml"/><Relationship Id="rId30" Type="http://schemas.openxmlformats.org/officeDocument/2006/relationships/tags" Target="../tags/tag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9CC7DD-C414-48C7-92CF-5967329116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13721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20" imgH="429" progId="TCLayout.ActiveDocument.1">
                  <p:embed/>
                </p:oleObj>
              </mc:Choice>
              <mc:Fallback>
                <p:oleObj name="think-cell Slide" r:id="rId16" imgW="420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9CC7DD-C414-48C7-92CF-596732911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93CBA3B-EDA1-4EAB-A194-0BADAA9F97AC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BE00ACF-1072-4E70-AE8D-F252D480D8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86433"/>
            <a:ext cx="9869359" cy="9629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FDE2C6E-B14A-46FA-8162-F7D3C3A999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700213"/>
            <a:ext cx="11233150" cy="4392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EB211ED-544F-4BDA-BB93-2D2CD2190C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815075" y="6425409"/>
            <a:ext cx="694899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8A75BE-B104-4D10-B621-844508130452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89F40B-CF1B-4C82-9646-27F14BAFF3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3950" y="6425409"/>
            <a:ext cx="4541747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noProof="0"/>
              <a:t>Nobel Biocare PowerPoint Template 16-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2C530F1-2606-4CCC-A677-BCE0A07CA5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9352" y="6425409"/>
            <a:ext cx="47625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b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B6F840C-2113-4640-8BB0-1DBC3429906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952" y="523335"/>
            <a:ext cx="1305452" cy="432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0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50" r:id="rId2"/>
    <p:sldLayoutId id="2147483665" r:id="rId3"/>
    <p:sldLayoutId id="2147483666" r:id="rId4"/>
    <p:sldLayoutId id="2147483694" r:id="rId5"/>
    <p:sldLayoutId id="2147483695" r:id="rId6"/>
    <p:sldLayoutId id="2147483790" r:id="rId7"/>
    <p:sldLayoutId id="2147483667" r:id="rId8"/>
    <p:sldLayoutId id="2147483668" r:id="rId9"/>
    <p:sldLayoutId id="2147483761" r:id="rId10"/>
    <p:sldLayoutId id="2147483763" r:id="rId11"/>
    <p:sldLayoutId id="2147483792" r:id="rId12"/>
  </p:sldLayoutIdLst>
  <p:transition spd="slow">
    <p:wipe/>
  </p:transition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 cap="none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Tx/>
        <a:buFont typeface="Symbol" panose="05050102010706020507" pitchFamily="18" charset="2"/>
        <a:buNone/>
        <a:tabLst/>
        <a:defRPr sz="2000" b="1" kern="1200" cap="none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0" marR="0" indent="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Tx/>
        <a:buFont typeface="Symbol" panose="05050102010706020507" pitchFamily="18" charset="2"/>
        <a:buNone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pos="3772" userDrawn="1">
          <p15:clr>
            <a:srgbClr val="F26B43"/>
          </p15:clr>
        </p15:guide>
        <p15:guide id="5" pos="3908" userDrawn="1">
          <p15:clr>
            <a:srgbClr val="F26B43"/>
          </p15:clr>
        </p15:guide>
        <p15:guide id="6" orient="horz" pos="913" userDrawn="1">
          <p15:clr>
            <a:srgbClr val="F26B43"/>
          </p15:clr>
        </p15:guide>
        <p15:guide id="7" orient="horz" pos="30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  <p15:guide id="15" orient="horz" pos="3584" userDrawn="1">
          <p15:clr>
            <a:srgbClr val="F26B43"/>
          </p15:clr>
        </p15:guide>
        <p15:guide id="16" orient="horz" pos="383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948F510-6A42-4D25-BBAD-9CBB223CEA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79013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20" imgH="429" progId="TCLayout.ActiveDocument.1">
                  <p:embed/>
                </p:oleObj>
              </mc:Choice>
              <mc:Fallback>
                <p:oleObj name="think-cell Slide" r:id="rId12" imgW="420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948F510-6A42-4D25-BBAD-9CBB223CEA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2837B11-D288-4477-A01C-8B534B26B2A4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BE00ACF-1072-4E70-AE8D-F252D480D8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86433"/>
            <a:ext cx="9869359" cy="9629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FDE2C6E-B14A-46FA-8162-F7D3C3A999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700213"/>
            <a:ext cx="11233150" cy="4392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</a:t>
            </a:r>
            <a:r>
              <a:rPr lang="en-US" noProof="0" dirty="0"/>
              <a:t>level</a:t>
            </a:r>
            <a:endParaRPr lang="en-US" dirty="0"/>
          </a:p>
          <a:p>
            <a:pPr lvl="2"/>
            <a:r>
              <a:rPr lang="en-US" dirty="0"/>
              <a:t>Third </a:t>
            </a:r>
            <a:r>
              <a:rPr lang="en-US" noProof="0" dirty="0"/>
              <a:t>level</a:t>
            </a:r>
            <a:endParaRPr lang="en-US" dirty="0"/>
          </a:p>
          <a:p>
            <a:pPr lvl="3"/>
            <a:r>
              <a:rPr lang="en-US" dirty="0"/>
              <a:t>Fourth </a:t>
            </a:r>
            <a:r>
              <a:rPr lang="en-US" noProof="0" dirty="0"/>
              <a:t>level</a:t>
            </a:r>
            <a:endParaRPr lang="en-US" dirty="0"/>
          </a:p>
          <a:p>
            <a:pPr lvl="4"/>
            <a:r>
              <a:rPr lang="en-US" dirty="0"/>
              <a:t>Fifth </a:t>
            </a:r>
            <a:r>
              <a:rPr lang="en-US" noProof="0" dirty="0"/>
              <a:t>level</a:t>
            </a:r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B6F840C-2113-4640-8BB0-1DBC3429906E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952" y="523335"/>
            <a:ext cx="1305452" cy="432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684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6" r:id="rId6"/>
    <p:sldLayoutId id="2147483787" r:id="rId7"/>
    <p:sldLayoutId id="2147483791" r:id="rId8"/>
  </p:sldLayoutIdLst>
  <p:transition spd="slow">
    <p:wipe/>
  </p:transition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 cap="none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Tx/>
        <a:buFont typeface="Symbol" panose="05050102010706020507" pitchFamily="18" charset="2"/>
        <a:buNone/>
        <a:tabLst/>
        <a:defRPr sz="2000" b="1" kern="1200" cap="none" spc="0" baseline="0">
          <a:solidFill>
            <a:srgbClr val="000000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None/>
        <a:defRPr sz="1600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rgbClr val="000000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pos="3772">
          <p15:clr>
            <a:srgbClr val="F26B43"/>
          </p15:clr>
        </p15:guide>
        <p15:guide id="5" pos="3908">
          <p15:clr>
            <a:srgbClr val="F26B43"/>
          </p15:clr>
        </p15:guide>
        <p15:guide id="6" orient="horz" pos="913">
          <p15:clr>
            <a:srgbClr val="F26B43"/>
          </p15:clr>
        </p15:guide>
        <p15:guide id="7" orient="horz" pos="300">
          <p15:clr>
            <a:srgbClr val="F26B43"/>
          </p15:clr>
        </p15:guide>
        <p15:guide id="8" orient="horz" pos="1071">
          <p15:clr>
            <a:srgbClr val="F26B43"/>
          </p15:clr>
        </p15:guide>
        <p15:guide id="15" orient="horz" pos="3584">
          <p15:clr>
            <a:srgbClr val="F26B43"/>
          </p15:clr>
        </p15:guide>
        <p15:guide id="16" orient="horz" pos="383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9CC7DD-C414-48C7-92CF-5967329116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829906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420" imgH="429" progId="TCLayout.ActiveDocument.1">
                  <p:embed/>
                </p:oleObj>
              </mc:Choice>
              <mc:Fallback>
                <p:oleObj name="think-cell Folie" r:id="rId26" imgW="420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9CC7DD-C414-48C7-92CF-596732911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93CBA3B-EDA1-4EAB-A194-0BADAA9F97AC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BE00ACF-1072-4E70-AE8D-F252D480D8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86433"/>
            <a:ext cx="9869359" cy="9629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FDE2C6E-B14A-46FA-8162-F7D3C3A999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700213"/>
            <a:ext cx="11233150" cy="4392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EB211ED-544F-4BDA-BB93-2D2CD2190C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815075" y="6425409"/>
            <a:ext cx="694899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5F3116-7EE7-47AA-AC8A-FFE8DD8A63D4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89F40B-CF1B-4C82-9646-27F14BAFF3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3950" y="6425409"/>
            <a:ext cx="4541747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2C530F1-2606-4CCC-A677-BCE0A07CA5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9352" y="6425409"/>
            <a:ext cx="47625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b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B6F840C-2113-4640-8BB0-1DBC3429906E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952" y="523335"/>
            <a:ext cx="1305452" cy="432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617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  <p:sldLayoutId id="2147483806" r:id="rId13"/>
    <p:sldLayoutId id="2147483807" r:id="rId14"/>
    <p:sldLayoutId id="2147483808" r:id="rId15"/>
    <p:sldLayoutId id="2147483809" r:id="rId16"/>
    <p:sldLayoutId id="2147483810" r:id="rId17"/>
    <p:sldLayoutId id="2147483811" r:id="rId18"/>
    <p:sldLayoutId id="2147483812" r:id="rId19"/>
    <p:sldLayoutId id="2147483813" r:id="rId20"/>
    <p:sldLayoutId id="2147483814" r:id="rId21"/>
    <p:sldLayoutId id="2147483815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 cap="none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Tx/>
        <a:buFont typeface="Symbol" panose="05050102010706020507" pitchFamily="18" charset="2"/>
        <a:buNone/>
        <a:tabLst/>
        <a:defRPr sz="2000" b="1" kern="1200" cap="none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0" marR="0" indent="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Tx/>
        <a:buFont typeface="Symbol" panose="05050102010706020507" pitchFamily="18" charset="2"/>
        <a:buNone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pos="3772">
          <p15:clr>
            <a:srgbClr val="F26B43"/>
          </p15:clr>
        </p15:guide>
        <p15:guide id="5" pos="3908">
          <p15:clr>
            <a:srgbClr val="F26B43"/>
          </p15:clr>
        </p15:guide>
        <p15:guide id="6" orient="horz" pos="913">
          <p15:clr>
            <a:srgbClr val="F26B43"/>
          </p15:clr>
        </p15:guide>
        <p15:guide id="7" orient="horz" pos="300">
          <p15:clr>
            <a:srgbClr val="F26B43"/>
          </p15:clr>
        </p15:guide>
        <p15:guide id="8" orient="horz" pos="1071">
          <p15:clr>
            <a:srgbClr val="F26B43"/>
          </p15:clr>
        </p15:guide>
        <p15:guide id="15" orient="horz" pos="3584">
          <p15:clr>
            <a:srgbClr val="F26B43"/>
          </p15:clr>
        </p15:guide>
        <p15:guide id="16" orient="horz" pos="383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9CC7DD-C414-48C7-92CF-5967329116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623271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20" imgH="429" progId="TCLayout.ActiveDocument.1">
                  <p:embed/>
                </p:oleObj>
              </mc:Choice>
              <mc:Fallback>
                <p:oleObj name="think-cell Slide" r:id="rId35" imgW="420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9CC7DD-C414-48C7-92CF-596732911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93CBA3B-EDA1-4EAB-A194-0BADAA9F97AC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BE00ACF-1072-4E70-AE8D-F252D480D8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86433"/>
            <a:ext cx="9869359" cy="9629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FDE2C6E-B14A-46FA-8162-F7D3C3A999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700213"/>
            <a:ext cx="11233150" cy="4392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EB211ED-544F-4BDA-BB93-2D2CD2190C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815075" y="6425409"/>
            <a:ext cx="694899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89F40B-CF1B-4C82-9646-27F14BAFF3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3950" y="6425409"/>
            <a:ext cx="4541747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2C530F1-2606-4CCC-A677-BCE0A07CA5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9352" y="6425409"/>
            <a:ext cx="47625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b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B6F840C-2113-4640-8BB0-1DBC3429906E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6952" y="523949"/>
            <a:ext cx="1305452" cy="431097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619C0C16-F841-47F7-99B4-35E90A4DBF64}"/>
              </a:ext>
            </a:extLst>
          </p:cNvPr>
          <p:cNvSpPr/>
          <p:nvPr userDrawn="1"/>
        </p:nvSpPr>
        <p:spPr>
          <a:xfrm>
            <a:off x="1380519" y="6456465"/>
            <a:ext cx="2394886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/>
            <a:r>
              <a:rPr lang="en-US" sz="1000"/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619777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  <p:sldLayoutId id="2147483837" r:id="rId19"/>
    <p:sldLayoutId id="2147483838" r:id="rId20"/>
    <p:sldLayoutId id="2147483839" r:id="rId21"/>
    <p:sldLayoutId id="2147483840" r:id="rId22"/>
    <p:sldLayoutId id="2147483841" r:id="rId23"/>
    <p:sldLayoutId id="2147483842" r:id="rId24"/>
    <p:sldLayoutId id="2147483843" r:id="rId25"/>
    <p:sldLayoutId id="2147483844" r:id="rId26"/>
    <p:sldLayoutId id="2147483845" r:id="rId27"/>
    <p:sldLayoutId id="2147483846" r:id="rId28"/>
    <p:sldLayoutId id="2147483847" r:id="rId29"/>
    <p:sldLayoutId id="2147483848" r:id="rId30"/>
    <p:sldLayoutId id="2147483849" r:id="rId31"/>
  </p:sldLayoutIdLst>
  <p:transition spd="slow">
    <p:wipe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 cap="none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Tx/>
        <a:buFont typeface="Symbol" panose="05050102010706020507" pitchFamily="18" charset="2"/>
        <a:buNone/>
        <a:tabLst/>
        <a:defRPr sz="2000" b="1" kern="1200" cap="none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0" marR="0" indent="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Tx/>
        <a:buFont typeface="Symbol" panose="05050102010706020507" pitchFamily="18" charset="2"/>
        <a:buNone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pos="3772">
          <p15:clr>
            <a:srgbClr val="F26B43"/>
          </p15:clr>
        </p15:guide>
        <p15:guide id="5" pos="3908">
          <p15:clr>
            <a:srgbClr val="F26B43"/>
          </p15:clr>
        </p15:guide>
        <p15:guide id="6" orient="horz" pos="913">
          <p15:clr>
            <a:srgbClr val="F26B43"/>
          </p15:clr>
        </p15:guide>
        <p15:guide id="7" orient="horz" pos="300">
          <p15:clr>
            <a:srgbClr val="F26B43"/>
          </p15:clr>
        </p15:guide>
        <p15:guide id="8" orient="horz" pos="1071">
          <p15:clr>
            <a:srgbClr val="F26B43"/>
          </p15:clr>
        </p15:guide>
        <p15:guide id="15" orient="horz" pos="3584">
          <p15:clr>
            <a:srgbClr val="F26B43"/>
          </p15:clr>
        </p15:guide>
        <p15:guide id="16" orient="horz" pos="383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9CC7DD-C414-48C7-92CF-5967329116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413721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20" imgH="429" progId="TCLayout.ActiveDocument.1">
                  <p:embed/>
                </p:oleObj>
              </mc:Choice>
              <mc:Fallback>
                <p:oleObj name="think-cell Slide" r:id="rId31" imgW="420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9CC7DD-C414-48C7-92CF-596732911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93CBA3B-EDA1-4EAB-A194-0BADAA9F97AC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BE00ACF-1072-4E70-AE8D-F252D480D8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86433"/>
            <a:ext cx="9869359" cy="9629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FDE2C6E-B14A-46FA-8162-F7D3C3A999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700213"/>
            <a:ext cx="11233150" cy="4392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EB211ED-544F-4BDA-BB93-2D2CD2190C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815075" y="6425409"/>
            <a:ext cx="694899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89F40B-CF1B-4C82-9646-27F14BAFF3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3950" y="6425409"/>
            <a:ext cx="4541747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2C530F1-2606-4CCC-A677-BCE0A07CA5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9352" y="6425409"/>
            <a:ext cx="47625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b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B6F840C-2113-4640-8BB0-1DBC3429906E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6952" y="523949"/>
            <a:ext cx="1305452" cy="43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425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  <p:sldLayoutId id="2147483865" r:id="rId15"/>
    <p:sldLayoutId id="2147483866" r:id="rId16"/>
    <p:sldLayoutId id="2147483867" r:id="rId17"/>
    <p:sldLayoutId id="2147483868" r:id="rId18"/>
    <p:sldLayoutId id="2147483869" r:id="rId19"/>
    <p:sldLayoutId id="2147483870" r:id="rId20"/>
    <p:sldLayoutId id="2147483871" r:id="rId21"/>
    <p:sldLayoutId id="2147483872" r:id="rId22"/>
    <p:sldLayoutId id="2147483873" r:id="rId23"/>
    <p:sldLayoutId id="2147483874" r:id="rId24"/>
    <p:sldLayoutId id="2147483875" r:id="rId25"/>
    <p:sldLayoutId id="2147483876" r:id="rId26"/>
    <p:sldLayoutId id="2147483877" r:id="rId27"/>
  </p:sldLayoutIdLst>
  <p:transition spd="slow">
    <p:wipe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 cap="none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Tx/>
        <a:buFont typeface="Symbol" panose="05050102010706020507" pitchFamily="18" charset="2"/>
        <a:buNone/>
        <a:tabLst/>
        <a:defRPr sz="2000" b="1" kern="1200" cap="none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0" marR="0" indent="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Tx/>
        <a:buFont typeface="Symbol" panose="05050102010706020507" pitchFamily="18" charset="2"/>
        <a:buNone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pos="3772">
          <p15:clr>
            <a:srgbClr val="F26B43"/>
          </p15:clr>
        </p15:guide>
        <p15:guide id="5" pos="3908">
          <p15:clr>
            <a:srgbClr val="F26B43"/>
          </p15:clr>
        </p15:guide>
        <p15:guide id="6" orient="horz" pos="913">
          <p15:clr>
            <a:srgbClr val="F26B43"/>
          </p15:clr>
        </p15:guide>
        <p15:guide id="7" orient="horz" pos="300">
          <p15:clr>
            <a:srgbClr val="F26B43"/>
          </p15:clr>
        </p15:guide>
        <p15:guide id="8" orient="horz" pos="1071">
          <p15:clr>
            <a:srgbClr val="F26B43"/>
          </p15:clr>
        </p15:guide>
        <p15:guide id="15" orient="horz" pos="3584">
          <p15:clr>
            <a:srgbClr val="F26B43"/>
          </p15:clr>
        </p15:guide>
        <p15:guide id="16" orient="horz" pos="38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51.jpeg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50.jpe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66.bin"/><Relationship Id="rId9" Type="http://schemas.openxmlformats.org/officeDocument/2006/relationships/image" Target="../media/image53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5" Type="http://schemas.openxmlformats.org/officeDocument/2006/relationships/chart" Target="../charts/chart1.xml"/><Relationship Id="rId4" Type="http://schemas.openxmlformats.org/officeDocument/2006/relationships/image" Target="../media/image5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5" Type="http://schemas.openxmlformats.org/officeDocument/2006/relationships/chart" Target="../charts/chart2.xml"/><Relationship Id="rId4" Type="http://schemas.openxmlformats.org/officeDocument/2006/relationships/image" Target="../media/image5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9.jpeg"/><Relationship Id="rId12" Type="http://schemas.openxmlformats.org/officeDocument/2006/relationships/image" Target="../media/image34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26.xml"/><Relationship Id="rId6" Type="http://schemas.openxmlformats.org/officeDocument/2006/relationships/image" Target="../media/image28.emf"/><Relationship Id="rId11" Type="http://schemas.openxmlformats.org/officeDocument/2006/relationships/image" Target="../media/image33.png"/><Relationship Id="rId5" Type="http://schemas.openxmlformats.org/officeDocument/2006/relationships/oleObject" Target="../embeddings/oleObject63.bin"/><Relationship Id="rId10" Type="http://schemas.openxmlformats.org/officeDocument/2006/relationships/image" Target="../media/image32.png"/><Relationship Id="rId4" Type="http://schemas.openxmlformats.org/officeDocument/2006/relationships/image" Target="../media/image27.jpeg"/><Relationship Id="rId9" Type="http://schemas.openxmlformats.org/officeDocument/2006/relationships/image" Target="../media/image3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3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68.bin"/><Relationship Id="rId4" Type="http://schemas.openxmlformats.org/officeDocument/2006/relationships/notesSlide" Target="../notesSlides/notesSlide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chart" Target="../charts/chart4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69.bin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eg"/><Relationship Id="rId3" Type="http://schemas.openxmlformats.org/officeDocument/2006/relationships/image" Target="../media/image40.png"/><Relationship Id="rId7" Type="http://schemas.openxmlformats.org/officeDocument/2006/relationships/image" Target="../media/image6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62.jpeg"/><Relationship Id="rId5" Type="http://schemas.openxmlformats.org/officeDocument/2006/relationships/image" Target="../media/image61.jpeg"/><Relationship Id="rId4" Type="http://schemas.openxmlformats.org/officeDocument/2006/relationships/image" Target="../media/image60.jpe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6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9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7.xml"/><Relationship Id="rId6" Type="http://schemas.openxmlformats.org/officeDocument/2006/relationships/image" Target="../media/image38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64.bin"/><Relationship Id="rId9" Type="http://schemas.openxmlformats.org/officeDocument/2006/relationships/image" Target="../media/image41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8.xml"/><Relationship Id="rId6" Type="http://schemas.openxmlformats.org/officeDocument/2006/relationships/image" Target="../media/image42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6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6.jpeg"/><Relationship Id="rId5" Type="http://schemas.openxmlformats.org/officeDocument/2006/relationships/image" Target="../media/image45.emf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9.png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48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6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14E81668-B163-489C-A8FB-B6F7D49FF9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Customer facing </a:t>
            </a:r>
            <a:r>
              <a:rPr lang="en-US" dirty="0"/>
              <a:t>p</a:t>
            </a:r>
            <a:r>
              <a:rPr lang="en-US"/>
              <a:t>resentation</a:t>
            </a:r>
            <a:endParaRPr lang="en-US" dirty="0"/>
          </a:p>
          <a:p>
            <a:endParaRPr lang="de-CH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769A50F-46E2-4717-AA48-A090CDB61C8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CH" dirty="0"/>
              <a:t>creos </a:t>
            </a:r>
            <a:r>
              <a:rPr lang="fr-CH" dirty="0" err="1"/>
              <a:t>syntogain</a:t>
            </a:r>
            <a:endParaRPr lang="de-CH" b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7AEECE-3B25-4C90-BC9D-55C3B1D032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68540453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925DD81-19E0-4A89-84F6-ADF796B1E7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F925DD81-19E0-4A89-84F6-ADF796B1E7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8D9882BA-3E3E-49EC-8181-450DE2A338A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339264-FEF9-4D92-8C06-61878C8BE3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070688"/>
            <a:ext cx="11233150" cy="5296702"/>
          </a:xfrm>
        </p:spPr>
        <p:txBody>
          <a:bodyPr/>
          <a:lstStyle/>
          <a:p>
            <a:r>
              <a:rPr lang="en-US" dirty="0"/>
              <a:t>Biomimetic calcium deficient HA vs traditional sintered HA</a:t>
            </a:r>
          </a:p>
          <a:p>
            <a:pPr lvl="3"/>
            <a:r>
              <a:rPr lang="en-US" dirty="0"/>
              <a:t>Main differentiation of creos </a:t>
            </a:r>
            <a:r>
              <a:rPr lang="en-US" dirty="0" err="1"/>
              <a:t>syntogain</a:t>
            </a:r>
            <a:r>
              <a:rPr lang="en-US" dirty="0"/>
              <a:t> granules is the </a:t>
            </a:r>
            <a:r>
              <a:rPr lang="fr-FR" dirty="0" err="1"/>
              <a:t>manufacturing</a:t>
            </a:r>
            <a:r>
              <a:rPr lang="fr-FR" dirty="0"/>
              <a:t> process </a:t>
            </a:r>
            <a:r>
              <a:rPr lang="en-US" dirty="0"/>
              <a:t>leading to the precipitation of </a:t>
            </a:r>
            <a:r>
              <a:rPr lang="en-US" b="1" dirty="0"/>
              <a:t>Calcium Deficient Hydroxyapatite (CDHA)</a:t>
            </a:r>
          </a:p>
          <a:p>
            <a:pPr lvl="3"/>
            <a:endParaRPr lang="en-US" b="1" dirty="0">
              <a:solidFill>
                <a:schemeClr val="tx1"/>
              </a:solidFill>
            </a:endParaRPr>
          </a:p>
          <a:p>
            <a:pPr lvl="3"/>
            <a:endParaRPr lang="en-US" b="1" dirty="0"/>
          </a:p>
          <a:p>
            <a:pPr lvl="3"/>
            <a:endParaRPr lang="en-US" b="1" dirty="0">
              <a:solidFill>
                <a:schemeClr val="tx1"/>
              </a:solidFill>
            </a:endParaRPr>
          </a:p>
          <a:p>
            <a:pPr lvl="3"/>
            <a:endParaRPr lang="en-US" b="1" dirty="0"/>
          </a:p>
          <a:p>
            <a:pPr lvl="3"/>
            <a:endParaRPr lang="en-US" b="1" dirty="0">
              <a:solidFill>
                <a:schemeClr val="tx1"/>
              </a:solidFill>
            </a:endParaRPr>
          </a:p>
          <a:p>
            <a:pPr lvl="3"/>
            <a:endParaRPr lang="en-US" b="1" dirty="0">
              <a:solidFill>
                <a:schemeClr val="tx1"/>
              </a:solidFill>
            </a:endParaRPr>
          </a:p>
          <a:p>
            <a:pPr lvl="3"/>
            <a:endParaRPr lang="en-US" b="1" dirty="0"/>
          </a:p>
          <a:p>
            <a:pPr lvl="3"/>
            <a:endParaRPr lang="en-US" b="1" dirty="0">
              <a:solidFill>
                <a:schemeClr val="tx1"/>
              </a:solidFill>
            </a:endParaRPr>
          </a:p>
          <a:p>
            <a:pPr lvl="3"/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EE971-173B-4D42-9DF1-3C848DC7F0E4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815075" y="6468952"/>
            <a:ext cx="694899" cy="216000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EF1148-1BBC-4F6B-83F3-2AD205DC07D6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.05.20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B61F3FE-DBF5-420B-9F50-AD8B7547CD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579352" y="6468952"/>
            <a:ext cx="476250" cy="216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BAED25-F67B-4389-AF81-088E5999745F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AA21DB-D7E7-45B4-9262-C89254066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084" y="138089"/>
            <a:ext cx="9869359" cy="714337"/>
          </a:xfrm>
        </p:spPr>
        <p:txBody>
          <a:bodyPr/>
          <a:lstStyle/>
          <a:p>
            <a:r>
              <a:rPr lang="en-US" sz="2800" dirty="0"/>
              <a:t>Technology base – Synthetic bone graft generalities</a:t>
            </a:r>
          </a:p>
        </p:txBody>
      </p:sp>
      <p:pic>
        <p:nvPicPr>
          <p:cNvPr id="14" name="Google Shape;350;p72"/>
          <p:cNvPicPr preferRelativeResize="0"/>
          <p:nvPr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5293" y="2267476"/>
            <a:ext cx="4342978" cy="244292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351;p72"/>
          <p:cNvPicPr preferRelativeResize="0"/>
          <p:nvPr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223" y="2267477"/>
            <a:ext cx="4342979" cy="2442914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Google Shape;352;p72"/>
          <p:cNvPicPr preferRelativeResize="0"/>
          <p:nvPr/>
        </p:nvPicPr>
        <p:blipFill rotWithShape="1"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006" t="30291" r="23412" b="25279"/>
          <a:stretch/>
        </p:blipFill>
        <p:spPr>
          <a:xfrm>
            <a:off x="8549446" y="3488934"/>
            <a:ext cx="2547780" cy="1789518"/>
          </a:xfrm>
          <a:prstGeom prst="rect">
            <a:avLst/>
          </a:prstGeom>
          <a:noFill/>
          <a:ln w="762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17" name="Google Shape;353;p72"/>
          <p:cNvPicPr preferRelativeResize="0"/>
          <p:nvPr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28" t="45385" r="38303" b="4541"/>
          <a:stretch/>
        </p:blipFill>
        <p:spPr>
          <a:xfrm>
            <a:off x="2784186" y="3488934"/>
            <a:ext cx="2547781" cy="1885180"/>
          </a:xfrm>
          <a:prstGeom prst="rect">
            <a:avLst/>
          </a:prstGeom>
          <a:noFill/>
          <a:ln w="7620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13" name="Google Shape;354;p72"/>
          <p:cNvSpPr txBox="1">
            <a:spLocks/>
          </p:cNvSpPr>
          <p:nvPr/>
        </p:nvSpPr>
        <p:spPr>
          <a:xfrm>
            <a:off x="969056" y="4732162"/>
            <a:ext cx="3723967" cy="15666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2000" b="1" kern="1200" cap="none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Symbol" panose="05050102010706020507" pitchFamily="18" charset="2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Open Sans ExtraBold"/>
                <a:cs typeface="Open Sans ExtraBold"/>
                <a:sym typeface="Open Sans ExtraBold"/>
              </a:rPr>
              <a:t>CURR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Symbol" panose="05050102010706020507" pitchFamily="18" charset="2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Open Sans ExtraBold"/>
                <a:cs typeface="Open Sans ExtraBold"/>
                <a:sym typeface="Open Sans ExtraBold"/>
              </a:rPr>
              <a:t>SYNTHETIC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Symbol" panose="05050102010706020507" pitchFamily="18" charset="2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Open Sans ExtraBold"/>
              <a:cs typeface="Open Sans ExtraBold"/>
              <a:sym typeface="Open Sans Extra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Symbol" panose="05050102010706020507" pitchFamily="18" charset="2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High-temperature, passivated materials, unable to interact with the host</a:t>
            </a:r>
          </a:p>
        </p:txBody>
      </p:sp>
      <p:sp>
        <p:nvSpPr>
          <p:cNvPr id="18" name="Google Shape;354;p72"/>
          <p:cNvSpPr txBox="1">
            <a:spLocks/>
          </p:cNvSpPr>
          <p:nvPr/>
        </p:nvSpPr>
        <p:spPr>
          <a:xfrm>
            <a:off x="6693581" y="4726952"/>
            <a:ext cx="4121493" cy="15666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2000" b="1" kern="1200" cap="none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Symbol" panose="05050102010706020507" pitchFamily="18" charset="2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Open Sans ExtraBold"/>
                <a:cs typeface="Open Sans ExtraBold"/>
                <a:sym typeface="Open Sans ExtraBold"/>
              </a:rPr>
              <a:t>BIOMIMETIC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Symbol" panose="05050102010706020507" pitchFamily="18" charset="2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Open Sans ExtraBold"/>
              <a:cs typeface="Open Sans ExtraBold"/>
              <a:sym typeface="Open Sans Extra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Symbol" panose="05050102010706020507" pitchFamily="18" charset="2"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Open Sans ExtraBold"/>
              <a:cs typeface="Open Sans ExtraBold"/>
              <a:sym typeface="Open Sans Extra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Symbol" panose="05050102010706020507" pitchFamily="18" charset="2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Similar to the mineral phase of bone. Calcium deficient hydroxyapatite crystals grow slowly at low temperature to mimic the structure and composition of human bone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17229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F4D37ED-2D5F-4499-8981-901C8A0369E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CH" sz="6000" dirty="0"/>
              <a:t>Product </a:t>
            </a:r>
            <a:r>
              <a:rPr lang="fr-CH" sz="6000" dirty="0" err="1"/>
              <a:t>features</a:t>
            </a:r>
            <a:endParaRPr lang="de-CH" sz="6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A24C6E-2041-415B-B69A-288A6359CE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16769773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E7D80AE-DDB9-4706-A077-0346A6A4C039}"/>
              </a:ext>
            </a:extLst>
          </p:cNvPr>
          <p:cNvSpPr/>
          <p:nvPr/>
        </p:nvSpPr>
        <p:spPr>
          <a:xfrm>
            <a:off x="0" y="0"/>
            <a:ext cx="4064400" cy="6858000"/>
          </a:xfrm>
          <a:prstGeom prst="rect">
            <a:avLst/>
          </a:prstGeom>
          <a:solidFill>
            <a:srgbClr val="A7D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05F4D13-D438-4EC9-AF0E-92BA60115064}"/>
              </a:ext>
            </a:extLst>
          </p:cNvPr>
          <p:cNvSpPr txBox="1">
            <a:spLocks/>
          </p:cNvSpPr>
          <p:nvPr/>
        </p:nvSpPr>
        <p:spPr>
          <a:xfrm>
            <a:off x="177457" y="247647"/>
            <a:ext cx="3709485" cy="5616574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2000" b="1" kern="1200" cap="none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sz="3600" dirty="0"/>
              <a:t>Unique composition of the </a:t>
            </a:r>
            <a:r>
              <a:rPr lang="fr-CH" sz="3600" dirty="0" err="1"/>
              <a:t>material</a:t>
            </a:r>
            <a:r>
              <a:rPr lang="fr-CH" sz="3600" dirty="0"/>
              <a:t> </a:t>
            </a:r>
            <a:r>
              <a:rPr lang="fr-CH" sz="3600" dirty="0" err="1"/>
              <a:t>that</a:t>
            </a:r>
            <a:r>
              <a:rPr lang="fr-CH" sz="3600" dirty="0"/>
              <a:t> </a:t>
            </a:r>
            <a:r>
              <a:rPr lang="fr-CH" sz="3600" dirty="0" err="1"/>
              <a:t>is</a:t>
            </a:r>
            <a:r>
              <a:rPr lang="fr-CH" sz="3600" dirty="0"/>
              <a:t> </a:t>
            </a:r>
            <a:r>
              <a:rPr lang="fr-CH" sz="3600" dirty="0" err="1"/>
              <a:t>biomimetic</a:t>
            </a:r>
            <a:endParaRPr lang="de-CH" sz="4400" dirty="0"/>
          </a:p>
        </p:txBody>
      </p:sp>
      <p:sp>
        <p:nvSpPr>
          <p:cNvPr id="12" name="Date Placeholder 1">
            <a:extLst>
              <a:ext uri="{FF2B5EF4-FFF2-40B4-BE49-F238E27FC236}">
                <a16:creationId xmlns:a16="http://schemas.microsoft.com/office/drawing/2014/main" id="{E55FDAE9-0643-464D-9F30-9CDB196A80D6}"/>
              </a:ext>
            </a:extLst>
          </p:cNvPr>
          <p:cNvSpPr txBox="1">
            <a:spLocks/>
          </p:cNvSpPr>
          <p:nvPr/>
        </p:nvSpPr>
        <p:spPr>
          <a:xfrm>
            <a:off x="10815075" y="6425409"/>
            <a:ext cx="694899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67A0599-3438-4611-B411-78E8BA190F49}" type="datetime1">
              <a:rPr lang="en-US" sz="700" smtClean="0"/>
              <a:pPr algn="r"/>
              <a:t>5/12/2022</a:t>
            </a:fld>
            <a:endParaRPr lang="en-US" sz="70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29215022-86D4-4852-84F6-C3226CC5761B}"/>
              </a:ext>
            </a:extLst>
          </p:cNvPr>
          <p:cNvSpPr txBox="1">
            <a:spLocks/>
          </p:cNvSpPr>
          <p:nvPr/>
        </p:nvSpPr>
        <p:spPr>
          <a:xfrm>
            <a:off x="11579352" y="6425409"/>
            <a:ext cx="476250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8BAED25-F67B-4389-AF81-088E5999745F}" type="slidenum">
              <a:rPr lang="en-US" sz="700" smtClean="0"/>
              <a:pPr algn="r"/>
              <a:t>12</a:t>
            </a:fld>
            <a:endParaRPr lang="en-US" sz="7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8441C5-1574-4BFB-9464-42D6971FC436}"/>
              </a:ext>
            </a:extLst>
          </p:cNvPr>
          <p:cNvSpPr txBox="1"/>
          <p:nvPr/>
        </p:nvSpPr>
        <p:spPr>
          <a:xfrm>
            <a:off x="4405842" y="1567812"/>
            <a:ext cx="744351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/>
              <a:t>80 % of Calcium Deficient Hydroxyapatite (CDHA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/>
              <a:t>20% of </a:t>
            </a:r>
            <a:r>
              <a:rPr lang="en-US" sz="2000" dirty="0">
                <a:sym typeface="Symbol" panose="05050102010706020507" pitchFamily="18" charset="2"/>
              </a:rPr>
              <a:t>-</a:t>
            </a:r>
            <a:r>
              <a:rPr lang="en-US" sz="2000" dirty="0"/>
              <a:t>TCP (beta-tricalcium phosphate)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b="1" dirty="0"/>
              <a:t>Biomimetic:</a:t>
            </a:r>
            <a:r>
              <a:rPr lang="en-US" sz="2000" dirty="0"/>
              <a:t> mimics human bone that is also made of CDHA.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000" b="1" dirty="0"/>
              <a:t>The closer a material resembles human bone, the better it is for bone formation.</a:t>
            </a:r>
          </a:p>
        </p:txBody>
      </p:sp>
    </p:spTree>
    <p:extLst>
      <p:ext uri="{BB962C8B-B14F-4D97-AF65-F5344CB8AC3E}">
        <p14:creationId xmlns:p14="http://schemas.microsoft.com/office/powerpoint/2010/main" val="1321953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589DD7B5-6489-43BE-A1CE-E4C65A57539A}"/>
              </a:ext>
            </a:extLst>
          </p:cNvPr>
          <p:cNvSpPr txBox="1"/>
          <p:nvPr/>
        </p:nvSpPr>
        <p:spPr>
          <a:xfrm>
            <a:off x="6289775" y="196675"/>
            <a:ext cx="309806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b="1" dirty="0"/>
              <a:t>High specific surface area</a:t>
            </a:r>
          </a:p>
          <a:p>
            <a:r>
              <a:rPr lang="en-US" sz="1600" b="1" dirty="0">
                <a:sym typeface="Wingdings" panose="05000000000000000000" pitchFamily="2" charset="2"/>
              </a:rPr>
              <a:t> helps the cells to attach for the bone generation.</a:t>
            </a:r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E7D80AE-DDB9-4706-A077-0346A6A4C039}"/>
              </a:ext>
            </a:extLst>
          </p:cNvPr>
          <p:cNvSpPr/>
          <p:nvPr/>
        </p:nvSpPr>
        <p:spPr>
          <a:xfrm>
            <a:off x="0" y="0"/>
            <a:ext cx="3547855" cy="6858000"/>
          </a:xfrm>
          <a:prstGeom prst="rect">
            <a:avLst/>
          </a:prstGeom>
          <a:solidFill>
            <a:srgbClr val="FED8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05F4D13-D438-4EC9-AF0E-92BA60115064}"/>
              </a:ext>
            </a:extLst>
          </p:cNvPr>
          <p:cNvSpPr txBox="1">
            <a:spLocks/>
          </p:cNvSpPr>
          <p:nvPr/>
        </p:nvSpPr>
        <p:spPr>
          <a:xfrm>
            <a:off x="75857" y="247647"/>
            <a:ext cx="3467443" cy="5616574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2000" b="1" kern="1200" cap="none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Microscopic surface made of nanocrystals</a:t>
            </a:r>
          </a:p>
        </p:txBody>
      </p:sp>
      <p:sp>
        <p:nvSpPr>
          <p:cNvPr id="12" name="Date Placeholder 1">
            <a:extLst>
              <a:ext uri="{FF2B5EF4-FFF2-40B4-BE49-F238E27FC236}">
                <a16:creationId xmlns:a16="http://schemas.microsoft.com/office/drawing/2014/main" id="{E55FDAE9-0643-464D-9F30-9CDB196A80D6}"/>
              </a:ext>
            </a:extLst>
          </p:cNvPr>
          <p:cNvSpPr txBox="1">
            <a:spLocks/>
          </p:cNvSpPr>
          <p:nvPr/>
        </p:nvSpPr>
        <p:spPr>
          <a:xfrm>
            <a:off x="10815075" y="6425409"/>
            <a:ext cx="694899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67A0599-3438-4611-B411-78E8BA190F49}" type="datetime1">
              <a:rPr lang="en-US" sz="700" smtClean="0"/>
              <a:pPr algn="r"/>
              <a:t>5/12/2022</a:t>
            </a:fld>
            <a:endParaRPr lang="en-US" sz="70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29215022-86D4-4852-84F6-C3226CC5761B}"/>
              </a:ext>
            </a:extLst>
          </p:cNvPr>
          <p:cNvSpPr txBox="1">
            <a:spLocks/>
          </p:cNvSpPr>
          <p:nvPr/>
        </p:nvSpPr>
        <p:spPr>
          <a:xfrm>
            <a:off x="11579352" y="6425409"/>
            <a:ext cx="476250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8BAED25-F67B-4389-AF81-088E5999745F}" type="slidenum">
              <a:rPr lang="en-US" sz="700" smtClean="0"/>
              <a:pPr algn="r"/>
              <a:t>13</a:t>
            </a:fld>
            <a:endParaRPr lang="en-US" sz="7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72D1BB8-739E-4DC3-91A9-6FF4903021C8}"/>
              </a:ext>
            </a:extLst>
          </p:cNvPr>
          <p:cNvSpPr txBox="1"/>
          <p:nvPr/>
        </p:nvSpPr>
        <p:spPr>
          <a:xfrm>
            <a:off x="3725312" y="2993320"/>
            <a:ext cx="52059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b="1" dirty="0"/>
              <a:t>High microporosity </a:t>
            </a:r>
            <a:r>
              <a:rPr lang="en-US" sz="1600" b="1" dirty="0">
                <a:sym typeface="Wingdings" panose="05000000000000000000" pitchFamily="2" charset="2"/>
              </a:rPr>
              <a:t> </a:t>
            </a:r>
            <a:r>
              <a:rPr lang="en-US" sz="1600" b="1" dirty="0"/>
              <a:t>enhancing bone ingrowth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7D7B79-4CDA-4602-9D7A-C334AD543664}"/>
              </a:ext>
            </a:extLst>
          </p:cNvPr>
          <p:cNvSpPr txBox="1"/>
          <p:nvPr/>
        </p:nvSpPr>
        <p:spPr>
          <a:xfrm>
            <a:off x="6289775" y="2287488"/>
            <a:ext cx="24076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0" i="0" u="none" strike="noStrike" baseline="0" dirty="0">
                <a:latin typeface="Calibri" panose="020F0502020204030204" pitchFamily="34" charset="0"/>
              </a:rPr>
              <a:t>The specific surface area was measured by nitrogen adsorption</a:t>
            </a:r>
            <a:r>
              <a:rPr lang="en-US" sz="1100" b="0" i="0" u="none" strike="noStrike" baseline="0" dirty="0">
                <a:latin typeface="Calibri" panose="020F0502020204030204" pitchFamily="34" charset="0"/>
                <a:sym typeface="Wingdings" panose="05000000000000000000" pitchFamily="2" charset="2"/>
              </a:rPr>
              <a:t> </a:t>
            </a:r>
            <a:endParaRPr lang="de-CH" sz="11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ABF4AC6-89E3-46F3-8B1A-A33BB98F03A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74" y="4115568"/>
            <a:ext cx="2153454" cy="126698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DB36BAFB-89A0-4F5F-BC0E-355F6BE585E2}"/>
              </a:ext>
            </a:extLst>
          </p:cNvPr>
          <p:cNvSpPr txBox="1"/>
          <p:nvPr/>
        </p:nvSpPr>
        <p:spPr>
          <a:xfrm>
            <a:off x="536096" y="5390102"/>
            <a:ext cx="2569636" cy="324232"/>
          </a:xfrm>
          <a:prstGeom prst="rect">
            <a:avLst/>
          </a:prstGeom>
          <a:noFill/>
          <a:ln w="28575">
            <a:noFill/>
          </a:ln>
        </p:spPr>
        <p:txBody>
          <a:bodyPr wrap="square" numCol="1" rtlCol="0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DHA crystallinity</a:t>
            </a: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3970A21-0949-431D-B95D-65667F73DD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4353" y="3464247"/>
            <a:ext cx="5353248" cy="3197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12DEE9DB-A2B9-4764-A9A0-229E039B3641}"/>
              </a:ext>
            </a:extLst>
          </p:cNvPr>
          <p:cNvSpPr txBox="1"/>
          <p:nvPr/>
        </p:nvSpPr>
        <p:spPr>
          <a:xfrm>
            <a:off x="9177054" y="3603416"/>
            <a:ext cx="2805644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100" dirty="0"/>
              <a:t>Natural </a:t>
            </a:r>
            <a:r>
              <a:rPr lang="de-CH" sz="1100" dirty="0" err="1"/>
              <a:t>bone</a:t>
            </a:r>
            <a:r>
              <a:rPr lang="de-CH" sz="1100" dirty="0"/>
              <a:t> (Bio-Oss, </a:t>
            </a:r>
            <a:r>
              <a:rPr lang="de-CH" sz="1100" dirty="0" err="1"/>
              <a:t>xenograft</a:t>
            </a:r>
            <a:r>
              <a:rPr lang="de-CH" sz="1100" dirty="0"/>
              <a:t>) </a:t>
            </a:r>
            <a:r>
              <a:rPr lang="de-CH" sz="1100" dirty="0" err="1"/>
              <a:t>starts</a:t>
            </a:r>
            <a:r>
              <a:rPr lang="de-CH" sz="1100" dirty="0"/>
              <a:t> in </a:t>
            </a:r>
            <a:r>
              <a:rPr lang="de-CH" sz="1100" dirty="0" err="1"/>
              <a:t>the</a:t>
            </a:r>
            <a:r>
              <a:rPr lang="de-CH" sz="1100" dirty="0"/>
              <a:t> </a:t>
            </a:r>
            <a:r>
              <a:rPr lang="de-CH" sz="1100" dirty="0" err="1"/>
              <a:t>nanometer</a:t>
            </a:r>
            <a:r>
              <a:rPr lang="de-CH" sz="1100" dirty="0"/>
              <a:t> </a:t>
            </a:r>
            <a:r>
              <a:rPr lang="de-CH" sz="1100" dirty="0" err="1"/>
              <a:t>size</a:t>
            </a:r>
            <a:r>
              <a:rPr lang="de-CH" sz="1100" dirty="0"/>
              <a:t> </a:t>
            </a:r>
            <a:r>
              <a:rPr lang="de-CH" sz="1100" dirty="0" err="1"/>
              <a:t>scale</a:t>
            </a:r>
            <a:r>
              <a:rPr lang="de-CH" sz="1100" dirty="0"/>
              <a:t>. – </a:t>
            </a:r>
            <a:r>
              <a:rPr lang="de-CH" sz="1100" dirty="0" err="1"/>
              <a:t>comparable</a:t>
            </a:r>
            <a:r>
              <a:rPr lang="de-CH" sz="1100" dirty="0"/>
              <a:t> </a:t>
            </a:r>
            <a:r>
              <a:rPr lang="de-CH" sz="1100" dirty="0" err="1"/>
              <a:t>to</a:t>
            </a:r>
            <a:r>
              <a:rPr lang="de-CH" sz="1100" dirty="0"/>
              <a:t> human </a:t>
            </a:r>
            <a:r>
              <a:rPr lang="de-CH" sz="1100" dirty="0" err="1"/>
              <a:t>bone</a:t>
            </a:r>
            <a:r>
              <a:rPr lang="de-CH" sz="1100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CH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100" dirty="0"/>
              <a:t>creos </a:t>
            </a:r>
            <a:r>
              <a:rPr lang="de-CH" sz="1100" dirty="0" err="1"/>
              <a:t>syntogain</a:t>
            </a:r>
            <a:r>
              <a:rPr lang="de-CH" sz="1100" dirty="0"/>
              <a:t> </a:t>
            </a:r>
            <a:r>
              <a:rPr lang="de-CH" sz="1100" dirty="0" err="1"/>
              <a:t>has</a:t>
            </a:r>
            <a:r>
              <a:rPr lang="de-CH" sz="1100" dirty="0"/>
              <a:t> </a:t>
            </a:r>
            <a:r>
              <a:rPr lang="de-CH" sz="1100" dirty="0" err="1"/>
              <a:t>pore</a:t>
            </a:r>
            <a:r>
              <a:rPr lang="de-CH" sz="1100" dirty="0"/>
              <a:t> </a:t>
            </a:r>
            <a:r>
              <a:rPr lang="de-CH" sz="1100" dirty="0" err="1"/>
              <a:t>sizes</a:t>
            </a:r>
            <a:r>
              <a:rPr lang="de-CH" sz="1100" dirty="0"/>
              <a:t> in </a:t>
            </a:r>
            <a:r>
              <a:rPr lang="de-CH" sz="1100" dirty="0" err="1"/>
              <a:t>the</a:t>
            </a:r>
            <a:r>
              <a:rPr lang="de-CH" sz="1100" dirty="0"/>
              <a:t> </a:t>
            </a:r>
            <a:r>
              <a:rPr lang="de-CH" sz="1100" dirty="0" err="1"/>
              <a:t>nanometer</a:t>
            </a:r>
            <a:r>
              <a:rPr lang="de-CH" sz="1100" dirty="0"/>
              <a:t> </a:t>
            </a:r>
            <a:r>
              <a:rPr lang="de-CH" sz="1100" dirty="0" err="1"/>
              <a:t>size</a:t>
            </a:r>
            <a:r>
              <a:rPr lang="de-CH" sz="1100" dirty="0"/>
              <a:t> </a:t>
            </a:r>
            <a:r>
              <a:rPr lang="de-CH" sz="1100" dirty="0" err="1"/>
              <a:t>scale</a:t>
            </a:r>
            <a:r>
              <a:rPr lang="de-CH" sz="1100" dirty="0"/>
              <a:t>, </a:t>
            </a:r>
            <a:r>
              <a:rPr lang="de-CH" sz="1100" dirty="0" err="1"/>
              <a:t>which</a:t>
            </a:r>
            <a:r>
              <a:rPr lang="de-CH" sz="1100" dirty="0"/>
              <a:t> </a:t>
            </a:r>
            <a:r>
              <a:rPr lang="de-CH" sz="1100" dirty="0" err="1"/>
              <a:t>is</a:t>
            </a:r>
            <a:r>
              <a:rPr lang="de-CH" sz="1100" dirty="0"/>
              <a:t> not </a:t>
            </a:r>
            <a:r>
              <a:rPr lang="de-CH" sz="1100" dirty="0" err="1"/>
              <a:t>the</a:t>
            </a:r>
            <a:r>
              <a:rPr lang="de-CH" sz="1100" dirty="0"/>
              <a:t> </a:t>
            </a:r>
            <a:r>
              <a:rPr lang="de-CH" sz="1100" dirty="0" err="1"/>
              <a:t>case</a:t>
            </a:r>
            <a:r>
              <a:rPr lang="de-CH" sz="1100" dirty="0"/>
              <a:t> </a:t>
            </a:r>
            <a:r>
              <a:rPr lang="de-CH" sz="1100" dirty="0" err="1"/>
              <a:t>with</a:t>
            </a:r>
            <a:r>
              <a:rPr lang="de-CH" sz="1100" dirty="0"/>
              <a:t> </a:t>
            </a:r>
            <a:r>
              <a:rPr lang="de-CH" sz="1100" dirty="0" err="1"/>
              <a:t>another</a:t>
            </a:r>
            <a:r>
              <a:rPr lang="de-CH" sz="1100" dirty="0"/>
              <a:t> classic </a:t>
            </a:r>
            <a:r>
              <a:rPr lang="de-CH" sz="1100" dirty="0" err="1"/>
              <a:t>sintered</a:t>
            </a:r>
            <a:r>
              <a:rPr lang="de-CH" sz="1100" dirty="0"/>
              <a:t> </a:t>
            </a:r>
            <a:r>
              <a:rPr lang="de-CH" sz="1100" dirty="0" err="1"/>
              <a:t>calcium</a:t>
            </a:r>
            <a:r>
              <a:rPr lang="de-CH" sz="1100" dirty="0"/>
              <a:t> </a:t>
            </a:r>
            <a:r>
              <a:rPr lang="de-CH" sz="1100" dirty="0" err="1"/>
              <a:t>phosphate</a:t>
            </a:r>
            <a:r>
              <a:rPr lang="de-CH" sz="1100" dirty="0"/>
              <a:t>.</a:t>
            </a:r>
          </a:p>
          <a:p>
            <a:endParaRPr lang="de-CH" sz="1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A nano/micro porosity similar to the natural bone’s structure allows good inflow of blood, cell colonization and reliable bone formation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creos </a:t>
            </a:r>
            <a:r>
              <a:rPr lang="en-US" sz="1100" dirty="0" err="1"/>
              <a:t>syntogain</a:t>
            </a:r>
            <a:r>
              <a:rPr lang="en-US" sz="1100" dirty="0"/>
              <a:t> mimics the natural porosity of bone.</a:t>
            </a:r>
            <a:endParaRPr lang="de-CH" sz="1100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4BDE17-1CC7-4375-95AD-00DB98812066}"/>
              </a:ext>
            </a:extLst>
          </p:cNvPr>
          <p:cNvCxnSpPr>
            <a:cxnSpLocks/>
          </p:cNvCxnSpPr>
          <p:nvPr/>
        </p:nvCxnSpPr>
        <p:spPr>
          <a:xfrm flipH="1" flipV="1">
            <a:off x="3822357" y="2872003"/>
            <a:ext cx="7975943" cy="1333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C1E9871A-B682-4CE2-91C8-56CD80B24910}"/>
              </a:ext>
            </a:extLst>
          </p:cNvPr>
          <p:cNvSpPr txBox="1"/>
          <p:nvPr/>
        </p:nvSpPr>
        <p:spPr>
          <a:xfrm rot="16200000">
            <a:off x="2660350" y="4725978"/>
            <a:ext cx="227687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CH" sz="1400" dirty="0">
                <a:solidFill>
                  <a:srgbClr val="111111"/>
                </a:solidFill>
                <a:latin typeface="Roboto" panose="02000000000000000000" pitchFamily="2" charset="0"/>
              </a:rPr>
              <a:t>P</a:t>
            </a:r>
            <a:r>
              <a:rPr lang="de-CH" sz="14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ore </a:t>
            </a:r>
            <a:r>
              <a:rPr lang="de-CH" sz="1400" b="0" i="0" dirty="0" err="1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volume</a:t>
            </a:r>
            <a:r>
              <a:rPr lang="de-CH" sz="14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 </a:t>
            </a:r>
            <a:r>
              <a:rPr lang="de-CH" sz="1400" b="0" i="0" dirty="0" err="1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distribution</a:t>
            </a:r>
            <a:endParaRPr lang="de-CH" sz="1400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8A8E9A94-7773-4079-BCAB-7D4C29721257}"/>
              </a:ext>
            </a:extLst>
          </p:cNvPr>
          <p:cNvSpPr/>
          <p:nvPr/>
        </p:nvSpPr>
        <p:spPr>
          <a:xfrm>
            <a:off x="4876800" y="5003800"/>
            <a:ext cx="1701800" cy="1090461"/>
          </a:xfrm>
          <a:prstGeom prst="round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69D561E-5C31-4F07-A844-AD341E48DC3D}"/>
              </a:ext>
            </a:extLst>
          </p:cNvPr>
          <p:cNvSpPr txBox="1"/>
          <p:nvPr/>
        </p:nvSpPr>
        <p:spPr>
          <a:xfrm>
            <a:off x="4476750" y="4749061"/>
            <a:ext cx="25019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H" sz="1100" dirty="0" err="1">
                <a:solidFill>
                  <a:schemeClr val="accent1"/>
                </a:solidFill>
              </a:rPr>
              <a:t>Nanometer</a:t>
            </a:r>
            <a:r>
              <a:rPr lang="fr-CH" sz="1100" dirty="0">
                <a:solidFill>
                  <a:schemeClr val="accent1"/>
                </a:solidFill>
              </a:rPr>
              <a:t> size </a:t>
            </a:r>
            <a:r>
              <a:rPr lang="fr-CH" sz="1100" dirty="0" err="1">
                <a:solidFill>
                  <a:schemeClr val="accent1"/>
                </a:solidFill>
              </a:rPr>
              <a:t>scale</a:t>
            </a:r>
            <a:endParaRPr lang="de-CH" sz="1100" dirty="0">
              <a:solidFill>
                <a:schemeClr val="accent1"/>
              </a:solidFill>
            </a:endParaRPr>
          </a:p>
        </p:txBody>
      </p:sp>
      <p:graphicFrame>
        <p:nvGraphicFramePr>
          <p:cNvPr id="23" name="Gráfico 11">
            <a:extLst>
              <a:ext uri="{FF2B5EF4-FFF2-40B4-BE49-F238E27FC236}">
                <a16:creationId xmlns:a16="http://schemas.microsoft.com/office/drawing/2014/main" id="{3FB38708-9AF3-478F-B1AA-5EE5311070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9630679"/>
              </p:ext>
            </p:extLst>
          </p:nvPr>
        </p:nvGraphicFramePr>
        <p:xfrm>
          <a:off x="3714750" y="260181"/>
          <a:ext cx="2407700" cy="2458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80889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E7D80AE-DDB9-4706-A077-0346A6A4C039}"/>
              </a:ext>
            </a:extLst>
          </p:cNvPr>
          <p:cNvSpPr/>
          <p:nvPr/>
        </p:nvSpPr>
        <p:spPr>
          <a:xfrm>
            <a:off x="0" y="0"/>
            <a:ext cx="4064400" cy="6858000"/>
          </a:xfrm>
          <a:prstGeom prst="rect">
            <a:avLst/>
          </a:prstGeom>
          <a:solidFill>
            <a:srgbClr val="7AE1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05F4D13-D438-4EC9-AF0E-92BA60115064}"/>
              </a:ext>
            </a:extLst>
          </p:cNvPr>
          <p:cNvSpPr txBox="1">
            <a:spLocks/>
          </p:cNvSpPr>
          <p:nvPr/>
        </p:nvSpPr>
        <p:spPr>
          <a:xfrm>
            <a:off x="177457" y="247647"/>
            <a:ext cx="3709485" cy="5616574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2000" b="1" kern="1200" cap="none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sz="3600" dirty="0"/>
              <a:t>The </a:t>
            </a:r>
            <a:r>
              <a:rPr lang="fr-CH" sz="3600" dirty="0" err="1"/>
              <a:t>bone</a:t>
            </a:r>
            <a:r>
              <a:rPr lang="fr-CH" sz="3600" dirty="0"/>
              <a:t> </a:t>
            </a:r>
            <a:r>
              <a:rPr lang="fr-CH" sz="3600" dirty="0" err="1"/>
              <a:t>is</a:t>
            </a:r>
            <a:r>
              <a:rPr lang="fr-CH" sz="3600" dirty="0"/>
              <a:t> stable</a:t>
            </a:r>
            <a:endParaRPr lang="de-CH" sz="4400" dirty="0"/>
          </a:p>
        </p:txBody>
      </p:sp>
      <p:sp>
        <p:nvSpPr>
          <p:cNvPr id="12" name="Date Placeholder 1">
            <a:extLst>
              <a:ext uri="{FF2B5EF4-FFF2-40B4-BE49-F238E27FC236}">
                <a16:creationId xmlns:a16="http://schemas.microsoft.com/office/drawing/2014/main" id="{E55FDAE9-0643-464D-9F30-9CDB196A80D6}"/>
              </a:ext>
            </a:extLst>
          </p:cNvPr>
          <p:cNvSpPr txBox="1">
            <a:spLocks/>
          </p:cNvSpPr>
          <p:nvPr/>
        </p:nvSpPr>
        <p:spPr>
          <a:xfrm>
            <a:off x="10815075" y="6425409"/>
            <a:ext cx="694899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67A0599-3438-4611-B411-78E8BA190F49}" type="datetime1">
              <a:rPr lang="en-US" sz="700" smtClean="0"/>
              <a:pPr algn="r"/>
              <a:t>5/12/2022</a:t>
            </a:fld>
            <a:endParaRPr lang="en-US" sz="70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29215022-86D4-4852-84F6-C3226CC5761B}"/>
              </a:ext>
            </a:extLst>
          </p:cNvPr>
          <p:cNvSpPr txBox="1">
            <a:spLocks/>
          </p:cNvSpPr>
          <p:nvPr/>
        </p:nvSpPr>
        <p:spPr>
          <a:xfrm>
            <a:off x="11579352" y="6425409"/>
            <a:ext cx="476250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8BAED25-F67B-4389-AF81-088E5999745F}" type="slidenum">
              <a:rPr lang="en-US" sz="700" smtClean="0"/>
              <a:pPr algn="r"/>
              <a:t>14</a:t>
            </a:fld>
            <a:endParaRPr lang="en-US" sz="7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806C4FA-DE9C-44ED-B607-1A2B40F61CA9}"/>
              </a:ext>
            </a:extLst>
          </p:cNvPr>
          <p:cNvSpPr txBox="1"/>
          <p:nvPr/>
        </p:nvSpPr>
        <p:spPr>
          <a:xfrm>
            <a:off x="4277032" y="6008439"/>
            <a:ext cx="76246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CH" sz="1000" b="0" i="1" u="none" strike="noStrike" baseline="0" dirty="0">
                <a:latin typeface="OpenSans-Italic"/>
              </a:rPr>
              <a:t>*Raymond Y, </a:t>
            </a:r>
            <a:r>
              <a:rPr lang="de-CH" sz="1000" b="0" i="1" u="none" strike="noStrike" baseline="0" dirty="0" err="1">
                <a:latin typeface="OpenSans-Italic"/>
              </a:rPr>
              <a:t>Pastorino</a:t>
            </a:r>
            <a:r>
              <a:rPr lang="de-CH" sz="1000" b="0" i="1" u="none" strike="noStrike" baseline="0" dirty="0">
                <a:latin typeface="OpenSans-Italic"/>
              </a:rPr>
              <a:t> D, Ginebreda I, et al. </a:t>
            </a:r>
            <a:r>
              <a:rPr lang="de-CH" sz="1000" b="0" i="1" u="none" strike="noStrike" baseline="0" dirty="0" err="1">
                <a:latin typeface="OpenSans-Italic"/>
              </a:rPr>
              <a:t>Computed</a:t>
            </a:r>
            <a:r>
              <a:rPr lang="de-CH" sz="1000" b="0" i="1" u="none" strike="noStrike" baseline="0" dirty="0">
                <a:latin typeface="OpenSans-Italic"/>
              </a:rPr>
              <a:t> </a:t>
            </a:r>
            <a:r>
              <a:rPr lang="de-CH" sz="1000" b="0" i="1" u="none" strike="noStrike" baseline="0" dirty="0" err="1">
                <a:latin typeface="OpenSans-Italic"/>
              </a:rPr>
              <a:t>tomography</a:t>
            </a:r>
            <a:r>
              <a:rPr lang="de-CH" sz="1000" b="0" i="1" u="none" strike="noStrike" baseline="0" dirty="0">
                <a:latin typeface="OpenSans-Italic"/>
              </a:rPr>
              <a:t> and </a:t>
            </a:r>
            <a:r>
              <a:rPr lang="de-CH" sz="1000" b="0" i="1" u="none" strike="noStrike" baseline="0" dirty="0" err="1">
                <a:latin typeface="OpenSans-Italic"/>
              </a:rPr>
              <a:t>histological</a:t>
            </a:r>
            <a:r>
              <a:rPr lang="de-CH" sz="1000" b="0" i="1" u="none" strike="noStrike" baseline="0" dirty="0">
                <a:latin typeface="OpenSans-Italic"/>
              </a:rPr>
              <a:t> </a:t>
            </a:r>
            <a:r>
              <a:rPr lang="de-CH" sz="1000" b="0" i="1" u="none" strike="noStrike" baseline="0" dirty="0" err="1">
                <a:latin typeface="OpenSans-Italic"/>
              </a:rPr>
              <a:t>evaluation</a:t>
            </a:r>
            <a:r>
              <a:rPr lang="de-CH" sz="1000" b="0" i="1" u="none" strike="noStrike" baseline="0" dirty="0">
                <a:latin typeface="OpenSans-Italic"/>
              </a:rPr>
              <a:t> </a:t>
            </a:r>
            <a:r>
              <a:rPr lang="de-CH" sz="1000" b="0" i="1" u="none" strike="noStrike" baseline="0" dirty="0" err="1">
                <a:latin typeface="OpenSans-Italic"/>
              </a:rPr>
              <a:t>of</a:t>
            </a:r>
            <a:r>
              <a:rPr lang="de-CH" sz="1000" b="0" i="1" u="none" strike="noStrike" baseline="0" dirty="0">
                <a:latin typeface="OpenSans-Italic"/>
              </a:rPr>
              <a:t> </a:t>
            </a:r>
            <a:r>
              <a:rPr lang="de-CH" sz="1000" b="0" i="1" u="none" strike="noStrike" baseline="0" dirty="0" err="1">
                <a:latin typeface="OpenSans-Italic"/>
              </a:rPr>
              <a:t>xenogenic</a:t>
            </a:r>
            <a:r>
              <a:rPr lang="de-CH" sz="1000" b="0" i="1" u="none" strike="noStrike" baseline="0" dirty="0">
                <a:latin typeface="OpenSans-Italic"/>
              </a:rPr>
              <a:t> and </a:t>
            </a:r>
            <a:r>
              <a:rPr lang="de-CH" sz="1000" b="0" i="1" u="none" strike="noStrike" baseline="0" dirty="0" err="1">
                <a:latin typeface="OpenSans-Italic"/>
              </a:rPr>
              <a:t>biomimetic</a:t>
            </a:r>
            <a:r>
              <a:rPr lang="de-CH" sz="1000" b="0" i="1" u="none" strike="noStrike" baseline="0" dirty="0">
                <a:latin typeface="OpenSans-Italic"/>
              </a:rPr>
              <a:t> </a:t>
            </a:r>
            <a:r>
              <a:rPr lang="de-CH" sz="1000" b="0" i="1" u="none" strike="noStrike" baseline="0" dirty="0" err="1">
                <a:latin typeface="OpenSans-Italic"/>
              </a:rPr>
              <a:t>bone</a:t>
            </a:r>
            <a:r>
              <a:rPr lang="de-CH" sz="1000" b="0" i="1" u="none" strike="noStrike" baseline="0" dirty="0">
                <a:latin typeface="OpenSans-Italic"/>
              </a:rPr>
              <a:t> grafts in </a:t>
            </a:r>
            <a:r>
              <a:rPr lang="de-CH" sz="1000" b="0" i="1" u="none" strike="noStrike" baseline="0" dirty="0" err="1">
                <a:latin typeface="OpenSans-Italic"/>
              </a:rPr>
              <a:t>three</a:t>
            </a:r>
            <a:r>
              <a:rPr lang="de-CH" sz="1000" b="0" i="1" u="none" strike="noStrike" baseline="0" dirty="0">
                <a:latin typeface="OpenSans-Italic"/>
              </a:rPr>
              <a:t>-wall alveolar </a:t>
            </a:r>
            <a:r>
              <a:rPr lang="de-CH" sz="1000" b="0" i="1" u="none" strike="noStrike" baseline="0" dirty="0" err="1">
                <a:latin typeface="OpenSans-Italic"/>
              </a:rPr>
              <a:t>defects</a:t>
            </a:r>
            <a:r>
              <a:rPr lang="de-CH" sz="1000" b="0" i="1" u="none" strike="noStrike" baseline="0" dirty="0">
                <a:latin typeface="OpenSans-Italic"/>
              </a:rPr>
              <a:t> in </a:t>
            </a:r>
            <a:r>
              <a:rPr lang="de-CH" sz="1000" b="0" i="1" u="none" strike="noStrike" baseline="0" dirty="0" err="1">
                <a:latin typeface="OpenSans-Italic"/>
              </a:rPr>
              <a:t>minipigs</a:t>
            </a:r>
            <a:r>
              <a:rPr lang="de-CH" sz="1000" b="0" i="1" u="none" strike="noStrike" baseline="0" dirty="0">
                <a:latin typeface="OpenSans-Italic"/>
              </a:rPr>
              <a:t>. Clinical Oral </a:t>
            </a:r>
            <a:r>
              <a:rPr lang="de-CH" sz="1000" b="0" i="1" u="none" strike="noStrike" baseline="0" dirty="0" err="1">
                <a:latin typeface="OpenSans-Italic"/>
              </a:rPr>
              <a:t>Investigations</a:t>
            </a:r>
            <a:r>
              <a:rPr lang="de-CH" sz="1000" b="0" i="1" u="none" strike="noStrike" baseline="0" dirty="0">
                <a:latin typeface="OpenSans-Italic"/>
              </a:rPr>
              <a:t> 2021. https://doi.org/10.1007/s00784-021-03956-y</a:t>
            </a:r>
            <a:endParaRPr lang="de-CH" sz="1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F7FE34D-22D4-4D0C-A9DE-C01A3B18A208}"/>
              </a:ext>
            </a:extLst>
          </p:cNvPr>
          <p:cNvSpPr txBox="1"/>
          <p:nvPr/>
        </p:nvSpPr>
        <p:spPr>
          <a:xfrm>
            <a:off x="4241857" y="191728"/>
            <a:ext cx="58600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1600" b="1" dirty="0" err="1"/>
              <a:t>Randomized</a:t>
            </a:r>
            <a:r>
              <a:rPr lang="fr-CH" sz="1600" b="1" dirty="0"/>
              <a:t> </a:t>
            </a:r>
            <a:r>
              <a:rPr lang="fr-CH" sz="1600" b="1" dirty="0" err="1"/>
              <a:t>Clinical</a:t>
            </a:r>
            <a:r>
              <a:rPr lang="fr-CH" sz="1600" b="1" dirty="0"/>
              <a:t> Trial: </a:t>
            </a:r>
            <a:r>
              <a:rPr lang="en-US" sz="1600" dirty="0"/>
              <a:t>Non-inferiority established for creos </a:t>
            </a:r>
            <a:r>
              <a:rPr lang="en-US" sz="1600" dirty="0" err="1"/>
              <a:t>syntogain</a:t>
            </a:r>
            <a:r>
              <a:rPr lang="en-US" sz="1600" dirty="0"/>
              <a:t> when compared to Bio-Oss in terms of vertical and horizontal changes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D661F9A-C9C3-485D-931B-EF7701A07679}"/>
              </a:ext>
            </a:extLst>
          </p:cNvPr>
          <p:cNvCxnSpPr/>
          <p:nvPr/>
        </p:nvCxnSpPr>
        <p:spPr>
          <a:xfrm>
            <a:off x="4277032" y="3296265"/>
            <a:ext cx="730232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AC11E520-F42C-4645-B651-70D68C18B175}"/>
              </a:ext>
            </a:extLst>
          </p:cNvPr>
          <p:cNvSpPr txBox="1"/>
          <p:nvPr/>
        </p:nvSpPr>
        <p:spPr>
          <a:xfrm>
            <a:off x="4277033" y="3463275"/>
            <a:ext cx="232696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1600" b="1" dirty="0" err="1"/>
              <a:t>Clinical</a:t>
            </a:r>
            <a:r>
              <a:rPr lang="fr-CH" sz="1600" b="1" dirty="0"/>
              <a:t> cases:</a:t>
            </a:r>
          </a:p>
          <a:p>
            <a:r>
              <a:rPr lang="en-US" sz="1600" dirty="0"/>
              <a:t>Bone is stable and it maintains the volume of the defect.</a:t>
            </a:r>
          </a:p>
          <a:p>
            <a:endParaRPr lang="en-US" sz="1600" dirty="0"/>
          </a:p>
          <a:p>
            <a:r>
              <a:rPr lang="en-US" sz="1000" i="1" dirty="0"/>
              <a:t>(courtesy of Dr </a:t>
            </a:r>
            <a:r>
              <a:rPr lang="en-US" sz="1000" i="1" dirty="0" err="1"/>
              <a:t>Ginebrada</a:t>
            </a:r>
            <a:r>
              <a:rPr lang="en-US" sz="1000" i="1" dirty="0"/>
              <a:t>)</a:t>
            </a:r>
            <a:endParaRPr lang="de-CH" sz="1000" i="1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0FD6C65-32E8-4AF1-A50B-01E129BE4BC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715" y="3519112"/>
            <a:ext cx="3942119" cy="108944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FC784FA-6CC8-4EB4-9542-9FE8322823E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8987" y="4779554"/>
            <a:ext cx="3559573" cy="1118810"/>
          </a:xfrm>
          <a:prstGeom prst="rect">
            <a:avLst/>
          </a:prstGeom>
        </p:spPr>
      </p:pic>
      <p:graphicFrame>
        <p:nvGraphicFramePr>
          <p:cNvPr id="24" name="Gráfico 12">
            <a:extLst>
              <a:ext uri="{FF2B5EF4-FFF2-40B4-BE49-F238E27FC236}">
                <a16:creationId xmlns:a16="http://schemas.microsoft.com/office/drawing/2014/main" id="{C5A8DC8D-1DF7-4200-8CE8-FD64DDC3F1C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0683045"/>
              </p:ext>
            </p:extLst>
          </p:nvPr>
        </p:nvGraphicFramePr>
        <p:xfrm>
          <a:off x="4376814" y="1192251"/>
          <a:ext cx="4488673" cy="19330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E81E3059-C7B7-4F0C-806F-B83B2E300C52}"/>
              </a:ext>
            </a:extLst>
          </p:cNvPr>
          <p:cNvSpPr txBox="1"/>
          <p:nvPr/>
        </p:nvSpPr>
        <p:spPr>
          <a:xfrm>
            <a:off x="9177901" y="1495732"/>
            <a:ext cx="26615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Measurements were made on CBCT, based on anatomical reference points (sinus floor or mandibular canal)</a:t>
            </a:r>
          </a:p>
        </p:txBody>
      </p:sp>
    </p:spTree>
    <p:extLst>
      <p:ext uri="{BB962C8B-B14F-4D97-AF65-F5344CB8AC3E}">
        <p14:creationId xmlns:p14="http://schemas.microsoft.com/office/powerpoint/2010/main" val="1063731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E7D80AE-DDB9-4706-A077-0346A6A4C039}"/>
              </a:ext>
            </a:extLst>
          </p:cNvPr>
          <p:cNvSpPr/>
          <p:nvPr/>
        </p:nvSpPr>
        <p:spPr>
          <a:xfrm>
            <a:off x="0" y="0"/>
            <a:ext cx="4064400" cy="6858000"/>
          </a:xfrm>
          <a:prstGeom prst="rect">
            <a:avLst/>
          </a:prstGeom>
          <a:solidFill>
            <a:srgbClr val="FFA3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05F4D13-D438-4EC9-AF0E-92BA60115064}"/>
              </a:ext>
            </a:extLst>
          </p:cNvPr>
          <p:cNvSpPr txBox="1">
            <a:spLocks/>
          </p:cNvSpPr>
          <p:nvPr/>
        </p:nvSpPr>
        <p:spPr>
          <a:xfrm>
            <a:off x="177457" y="247647"/>
            <a:ext cx="3709485" cy="5616574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2000" b="1" kern="1200" cap="none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400" b="0" dirty="0"/>
              <a:t>In addition:</a:t>
            </a:r>
          </a:p>
          <a:p>
            <a:r>
              <a:rPr lang="en-US" sz="4400" dirty="0"/>
              <a:t>A unique round shape of the granules</a:t>
            </a:r>
          </a:p>
        </p:txBody>
      </p:sp>
      <p:sp>
        <p:nvSpPr>
          <p:cNvPr id="12" name="Date Placeholder 1">
            <a:extLst>
              <a:ext uri="{FF2B5EF4-FFF2-40B4-BE49-F238E27FC236}">
                <a16:creationId xmlns:a16="http://schemas.microsoft.com/office/drawing/2014/main" id="{E55FDAE9-0643-464D-9F30-9CDB196A80D6}"/>
              </a:ext>
            </a:extLst>
          </p:cNvPr>
          <p:cNvSpPr txBox="1">
            <a:spLocks/>
          </p:cNvSpPr>
          <p:nvPr/>
        </p:nvSpPr>
        <p:spPr>
          <a:xfrm>
            <a:off x="10815075" y="6425409"/>
            <a:ext cx="694899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67A0599-3438-4611-B411-78E8BA190F49}" type="datetime1">
              <a:rPr lang="en-US" sz="700" smtClean="0"/>
              <a:pPr algn="r"/>
              <a:t>5/12/2022</a:t>
            </a:fld>
            <a:endParaRPr lang="en-US" sz="70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29215022-86D4-4852-84F6-C3226CC5761B}"/>
              </a:ext>
            </a:extLst>
          </p:cNvPr>
          <p:cNvSpPr txBox="1">
            <a:spLocks/>
          </p:cNvSpPr>
          <p:nvPr/>
        </p:nvSpPr>
        <p:spPr>
          <a:xfrm>
            <a:off x="11579352" y="6425409"/>
            <a:ext cx="476250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8BAED25-F67B-4389-AF81-088E5999745F}" type="slidenum">
              <a:rPr lang="en-US" sz="700" smtClean="0"/>
              <a:pPr algn="r"/>
              <a:t>15</a:t>
            </a:fld>
            <a:endParaRPr lang="en-US" sz="7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AB1C41D-7A26-459D-AA73-D15D6B109AA7}"/>
              </a:ext>
            </a:extLst>
          </p:cNvPr>
          <p:cNvSpPr txBox="1"/>
          <p:nvPr/>
        </p:nvSpPr>
        <p:spPr>
          <a:xfrm>
            <a:off x="4266972" y="1370088"/>
            <a:ext cx="5108676" cy="17022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Making it easy to apply in situ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Avoiding stacking effect.</a:t>
            </a:r>
          </a:p>
          <a:p>
            <a:pPr>
              <a:lnSpc>
                <a:spcPct val="150000"/>
              </a:lnSpc>
            </a:pPr>
            <a:endParaRPr lang="de-CH" sz="24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670B735-E1E0-49B1-B0D8-D4671A8A709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0234" y="2704788"/>
            <a:ext cx="3244710" cy="241917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A6CB57A-BD93-4E1E-84BB-663845250A22}"/>
              </a:ext>
            </a:extLst>
          </p:cNvPr>
          <p:cNvSpPr txBox="1"/>
          <p:nvPr/>
        </p:nvSpPr>
        <p:spPr>
          <a:xfrm>
            <a:off x="8865487" y="3631874"/>
            <a:ext cx="25115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0" i="1" u="none" strike="noStrike" baseline="0" dirty="0">
                <a:latin typeface="+mj-lt"/>
              </a:rPr>
              <a:t>Scheme representing the packing effect of different granules’</a:t>
            </a:r>
          </a:p>
          <a:p>
            <a:pPr algn="l"/>
            <a:r>
              <a:rPr lang="de-CH" sz="1200" b="0" i="1" u="none" strike="noStrike" baseline="0" dirty="0" err="1">
                <a:latin typeface="+mj-lt"/>
              </a:rPr>
              <a:t>morphologies</a:t>
            </a:r>
            <a:r>
              <a:rPr lang="de-CH" sz="1200" b="0" i="1" u="none" strike="noStrike" baseline="0" dirty="0">
                <a:latin typeface="+mj-lt"/>
              </a:rPr>
              <a:t> after </a:t>
            </a:r>
            <a:r>
              <a:rPr lang="de-CH" sz="1200" b="0" i="1" u="none" strike="noStrike" baseline="0" dirty="0" err="1">
                <a:latin typeface="+mj-lt"/>
              </a:rPr>
              <a:t>vibrations</a:t>
            </a:r>
            <a:r>
              <a:rPr lang="de-CH" sz="1200" b="0" i="1" u="none" strike="noStrike" baseline="0" dirty="0">
                <a:latin typeface="+mj-lt"/>
              </a:rPr>
              <a:t> and </a:t>
            </a:r>
            <a:r>
              <a:rPr lang="de-CH" sz="1200" b="0" i="1" u="none" strike="noStrike" baseline="0" dirty="0" err="1">
                <a:latin typeface="+mj-lt"/>
              </a:rPr>
              <a:t>micromovements</a:t>
            </a:r>
            <a:endParaRPr lang="de-CH" sz="1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50788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E7D80AE-DDB9-4706-A077-0346A6A4C039}"/>
              </a:ext>
            </a:extLst>
          </p:cNvPr>
          <p:cNvSpPr/>
          <p:nvPr/>
        </p:nvSpPr>
        <p:spPr>
          <a:xfrm>
            <a:off x="0" y="0"/>
            <a:ext cx="4064400" cy="6858000"/>
          </a:xfrm>
          <a:prstGeom prst="rect">
            <a:avLst/>
          </a:prstGeom>
          <a:solidFill>
            <a:srgbClr val="0073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05F4D13-D438-4EC9-AF0E-92BA60115064}"/>
              </a:ext>
            </a:extLst>
          </p:cNvPr>
          <p:cNvSpPr txBox="1">
            <a:spLocks/>
          </p:cNvSpPr>
          <p:nvPr/>
        </p:nvSpPr>
        <p:spPr>
          <a:xfrm>
            <a:off x="177457" y="247647"/>
            <a:ext cx="3709485" cy="5616574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2000" b="1" kern="1200" cap="none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400" b="0" dirty="0">
                <a:solidFill>
                  <a:schemeClr val="bg1"/>
                </a:solidFill>
              </a:rPr>
              <a:t>In addition:</a:t>
            </a:r>
          </a:p>
          <a:p>
            <a:r>
              <a:rPr lang="en-US" sz="4200" dirty="0">
                <a:solidFill>
                  <a:schemeClr val="bg1"/>
                </a:solidFill>
              </a:rPr>
              <a:t>High hydrophilicity</a:t>
            </a:r>
          </a:p>
        </p:txBody>
      </p:sp>
      <p:sp>
        <p:nvSpPr>
          <p:cNvPr id="12" name="Date Placeholder 1">
            <a:extLst>
              <a:ext uri="{FF2B5EF4-FFF2-40B4-BE49-F238E27FC236}">
                <a16:creationId xmlns:a16="http://schemas.microsoft.com/office/drawing/2014/main" id="{E55FDAE9-0643-464D-9F30-9CDB196A80D6}"/>
              </a:ext>
            </a:extLst>
          </p:cNvPr>
          <p:cNvSpPr txBox="1">
            <a:spLocks/>
          </p:cNvSpPr>
          <p:nvPr/>
        </p:nvSpPr>
        <p:spPr>
          <a:xfrm>
            <a:off x="10815075" y="6425409"/>
            <a:ext cx="694899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67A0599-3438-4611-B411-78E8BA190F49}" type="datetime1">
              <a:rPr lang="en-US" sz="700" smtClean="0"/>
              <a:pPr algn="r"/>
              <a:t>5/12/2022</a:t>
            </a:fld>
            <a:endParaRPr lang="en-US" sz="70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29215022-86D4-4852-84F6-C3226CC5761B}"/>
              </a:ext>
            </a:extLst>
          </p:cNvPr>
          <p:cNvSpPr txBox="1">
            <a:spLocks/>
          </p:cNvSpPr>
          <p:nvPr/>
        </p:nvSpPr>
        <p:spPr>
          <a:xfrm>
            <a:off x="11579352" y="6425409"/>
            <a:ext cx="476250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8BAED25-F67B-4389-AF81-088E5999745F}" type="slidenum">
              <a:rPr lang="en-US" sz="700" smtClean="0"/>
              <a:pPr algn="r"/>
              <a:t>16</a:t>
            </a:fld>
            <a:endParaRPr lang="en-US" sz="7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F0DCCEF-DAE4-4901-AF60-B73D38E346E9}"/>
              </a:ext>
            </a:extLst>
          </p:cNvPr>
          <p:cNvSpPr txBox="1"/>
          <p:nvPr/>
        </p:nvSpPr>
        <p:spPr>
          <a:xfrm>
            <a:off x="3974592" y="671251"/>
            <a:ext cx="5169408" cy="1685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lnSpc>
                <a:spcPct val="150000"/>
              </a:lnSpc>
              <a:defRPr sz="2400"/>
            </a:lvl1pPr>
            <a:lvl2pPr marL="742950" lvl="1" indent="-285750">
              <a:lnSpc>
                <a:spcPct val="150000"/>
              </a:lnSpc>
              <a:buFont typeface="Wingdings" panose="05000000000000000000" pitchFamily="2" charset="2"/>
              <a:buChar char="§"/>
              <a:defRPr sz="2400"/>
            </a:lvl2pPr>
          </a:lstStyle>
          <a:p>
            <a:pPr lvl="1"/>
            <a:r>
              <a:rPr lang="en-US" dirty="0"/>
              <a:t>Allowing an easy hydration.</a:t>
            </a:r>
          </a:p>
          <a:p>
            <a:pPr lvl="1"/>
            <a:r>
              <a:rPr lang="en-US" dirty="0"/>
              <a:t>Easy granule handling. </a:t>
            </a:r>
          </a:p>
          <a:p>
            <a:endParaRPr lang="de-CH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713E244-C735-43D1-9A7F-B47DEA0BCDBA}"/>
              </a:ext>
            </a:extLst>
          </p:cNvPr>
          <p:cNvSpPr txBox="1"/>
          <p:nvPr/>
        </p:nvSpPr>
        <p:spPr>
          <a:xfrm>
            <a:off x="5412609" y="5687769"/>
            <a:ext cx="25629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Average quantity of absorbed water by 3 cc of BGS after </a:t>
            </a:r>
            <a:r>
              <a:rPr lang="en-US" sz="1100" dirty="0" err="1"/>
              <a:t>stabilisation</a:t>
            </a:r>
            <a:endParaRPr lang="de-CH" sz="11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92FC392-9E7D-446A-B830-A49D103DB6D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5946" y="1960856"/>
            <a:ext cx="3915990" cy="367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72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E7D80AE-DDB9-4706-A077-0346A6A4C039}"/>
              </a:ext>
            </a:extLst>
          </p:cNvPr>
          <p:cNvSpPr/>
          <p:nvPr/>
        </p:nvSpPr>
        <p:spPr>
          <a:xfrm>
            <a:off x="0" y="0"/>
            <a:ext cx="3543300" cy="6858000"/>
          </a:xfrm>
          <a:prstGeom prst="rect">
            <a:avLst/>
          </a:prstGeom>
          <a:solidFill>
            <a:srgbClr val="A7D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05F4D13-D438-4EC9-AF0E-92BA60115064}"/>
              </a:ext>
            </a:extLst>
          </p:cNvPr>
          <p:cNvSpPr txBox="1">
            <a:spLocks/>
          </p:cNvSpPr>
          <p:nvPr/>
        </p:nvSpPr>
        <p:spPr>
          <a:xfrm>
            <a:off x="177457" y="247647"/>
            <a:ext cx="3709485" cy="5616574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2000" b="1" kern="1200" cap="none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400" b="0" dirty="0"/>
              <a:t>In addition:</a:t>
            </a:r>
          </a:p>
          <a:p>
            <a:r>
              <a:rPr lang="en-US" sz="4400" dirty="0"/>
              <a:t>It is non-sintered</a:t>
            </a:r>
          </a:p>
        </p:txBody>
      </p:sp>
      <p:sp>
        <p:nvSpPr>
          <p:cNvPr id="12" name="Date Placeholder 1">
            <a:extLst>
              <a:ext uri="{FF2B5EF4-FFF2-40B4-BE49-F238E27FC236}">
                <a16:creationId xmlns:a16="http://schemas.microsoft.com/office/drawing/2014/main" id="{E55FDAE9-0643-464D-9F30-9CDB196A80D6}"/>
              </a:ext>
            </a:extLst>
          </p:cNvPr>
          <p:cNvSpPr txBox="1">
            <a:spLocks/>
          </p:cNvSpPr>
          <p:nvPr/>
        </p:nvSpPr>
        <p:spPr>
          <a:xfrm>
            <a:off x="10815075" y="6425409"/>
            <a:ext cx="694899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67A0599-3438-4611-B411-78E8BA190F49}" type="datetime1">
              <a:rPr lang="en-US" sz="700" smtClean="0"/>
              <a:pPr algn="r"/>
              <a:t>5/12/2022</a:t>
            </a:fld>
            <a:endParaRPr lang="en-US" sz="70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29215022-86D4-4852-84F6-C3226CC5761B}"/>
              </a:ext>
            </a:extLst>
          </p:cNvPr>
          <p:cNvSpPr txBox="1">
            <a:spLocks/>
          </p:cNvSpPr>
          <p:nvPr/>
        </p:nvSpPr>
        <p:spPr>
          <a:xfrm>
            <a:off x="11579352" y="6425409"/>
            <a:ext cx="476250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8BAED25-F67B-4389-AF81-088E5999745F}" type="slidenum">
              <a:rPr lang="en-US" sz="700" smtClean="0"/>
              <a:pPr algn="r"/>
              <a:t>17</a:t>
            </a:fld>
            <a:endParaRPr lang="en-US" sz="7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46A402E-0B6D-45FA-92B3-9D6353658A65}"/>
              </a:ext>
            </a:extLst>
          </p:cNvPr>
          <p:cNvSpPr txBox="1"/>
          <p:nvPr/>
        </p:nvSpPr>
        <p:spPr>
          <a:xfrm>
            <a:off x="3720758" y="1131329"/>
            <a:ext cx="8293786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400" b="1" dirty="0"/>
              <a:t>Sintering (</a:t>
            </a:r>
            <a:r>
              <a:rPr lang="en-US" sz="1400" b="1" dirty="0" err="1"/>
              <a:t>frittage</a:t>
            </a:r>
            <a:r>
              <a:rPr lang="en-US" sz="1400" b="1" dirty="0"/>
              <a:t>)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= Formation of the granular material (from powder) using heat, without melting it.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Sintering temperature enables to control microstructural properties : crystallinity, grain size, density, and microporosity.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Those microstructural properties greatly influence the performance of hydroxyapatite.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Better bioactivity for hydroxyapatite scaffold can be achieved using a lower temperature manufacturing.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sz="1400" dirty="0"/>
          </a:p>
          <a:p>
            <a:pPr>
              <a:spcBef>
                <a:spcPts val="1200"/>
              </a:spcBef>
            </a:pPr>
            <a:r>
              <a:rPr lang="en-US" sz="1400" b="1" dirty="0"/>
              <a:t>Problem of sintering synthetic hydroxyapatite</a:t>
            </a:r>
          </a:p>
          <a:p>
            <a:pPr>
              <a:spcBef>
                <a:spcPts val="1200"/>
              </a:spcBef>
              <a:tabLst>
                <a:tab pos="444500" algn="l"/>
                <a:tab pos="723900" algn="l"/>
                <a:tab pos="990600" algn="l"/>
              </a:tabLst>
            </a:pPr>
            <a:r>
              <a:rPr lang="en-US" sz="1400" dirty="0">
                <a:sym typeface="Wingdings" panose="05000000000000000000" pitchFamily="2" charset="2"/>
              </a:rPr>
              <a:t>	</a:t>
            </a:r>
            <a:r>
              <a:rPr lang="en-US" sz="1200" dirty="0">
                <a:sym typeface="Wingdings" panose="05000000000000000000" pitchFamily="2" charset="2"/>
              </a:rPr>
              <a:t> Reduces micropores (</a:t>
            </a:r>
            <a:r>
              <a:rPr lang="en-US" sz="1200" dirty="0" err="1">
                <a:sym typeface="Wingdings" panose="05000000000000000000" pitchFamily="2" charset="2"/>
              </a:rPr>
              <a:t>Weibrich</a:t>
            </a:r>
            <a:r>
              <a:rPr lang="en-US" sz="1200" dirty="0">
                <a:sym typeface="Wingdings" panose="05000000000000000000" pitchFamily="2" charset="2"/>
              </a:rPr>
              <a:t> et al. 2000) and </a:t>
            </a:r>
            <a:r>
              <a:rPr lang="en-US" sz="1200" dirty="0" err="1">
                <a:sym typeface="Wingdings" panose="05000000000000000000" pitchFamily="2" charset="2"/>
              </a:rPr>
              <a:t>osteoconductivity</a:t>
            </a:r>
            <a:r>
              <a:rPr lang="en-US" sz="1200" dirty="0">
                <a:sym typeface="Wingdings" panose="05000000000000000000" pitchFamily="2" charset="2"/>
              </a:rPr>
              <a:t> (Henkel et al. 2006).</a:t>
            </a:r>
          </a:p>
          <a:p>
            <a:pPr>
              <a:spcBef>
                <a:spcPts val="1200"/>
              </a:spcBef>
              <a:tabLst>
                <a:tab pos="444500" algn="l"/>
                <a:tab pos="723900" algn="l"/>
                <a:tab pos="990600" algn="l"/>
              </a:tabLst>
            </a:pPr>
            <a:endParaRPr lang="de-CH" sz="1400" dirty="0"/>
          </a:p>
          <a:p>
            <a:pPr>
              <a:spcBef>
                <a:spcPts val="1200"/>
              </a:spcBef>
              <a:tabLst>
                <a:tab pos="444500" algn="l"/>
                <a:tab pos="723900" algn="l"/>
                <a:tab pos="990600" algn="l"/>
              </a:tabLst>
            </a:pPr>
            <a:r>
              <a:rPr lang="de-CH" sz="1400" b="1" dirty="0"/>
              <a:t>creos™ </a:t>
            </a:r>
            <a:r>
              <a:rPr lang="de-CH" sz="1400" b="1" dirty="0" err="1"/>
              <a:t>syntogain</a:t>
            </a:r>
            <a:r>
              <a:rPr lang="de-CH" sz="1400" b="1" dirty="0"/>
              <a:t> </a:t>
            </a:r>
            <a:r>
              <a:rPr lang="de-CH" sz="1400" b="1" dirty="0" err="1"/>
              <a:t>is</a:t>
            </a:r>
            <a:r>
              <a:rPr lang="de-CH" sz="1400" b="1" dirty="0"/>
              <a:t> not-</a:t>
            </a:r>
            <a:r>
              <a:rPr lang="de-CH" sz="1400" b="1" dirty="0" err="1"/>
              <a:t>sintered</a:t>
            </a:r>
            <a:endParaRPr lang="de-CH" sz="1400" b="1" dirty="0"/>
          </a:p>
          <a:p>
            <a:pPr marL="730250" indent="-285750">
              <a:spcBef>
                <a:spcPts val="1200"/>
              </a:spcBef>
              <a:buFont typeface="Wingdings" panose="05000000000000000000" pitchFamily="2" charset="2"/>
              <a:buChar char="à"/>
              <a:tabLst>
                <a:tab pos="444500" algn="l"/>
                <a:tab pos="723900" algn="l"/>
                <a:tab pos="990600" algn="l"/>
              </a:tabLst>
            </a:pPr>
            <a:r>
              <a:rPr lang="en-US" sz="1200" dirty="0"/>
              <a:t>Micropores and </a:t>
            </a:r>
            <a:r>
              <a:rPr lang="en-US" sz="1200" dirty="0" err="1"/>
              <a:t>osteoconductivity</a:t>
            </a:r>
            <a:r>
              <a:rPr lang="en-US" sz="1200" dirty="0"/>
              <a:t> are not reduced.</a:t>
            </a:r>
          </a:p>
          <a:p>
            <a:pPr marL="730250" indent="-285750">
              <a:spcBef>
                <a:spcPts val="1200"/>
              </a:spcBef>
              <a:buFont typeface="Wingdings" panose="05000000000000000000" pitchFamily="2" charset="2"/>
              <a:buChar char="à"/>
              <a:tabLst>
                <a:tab pos="444500" algn="l"/>
                <a:tab pos="723900" algn="l"/>
                <a:tab pos="990600" algn="l"/>
              </a:tabLst>
            </a:pPr>
            <a:r>
              <a:rPr lang="en-US" sz="1200" dirty="0"/>
              <a:t>Better for the bone regeneration.</a:t>
            </a:r>
            <a:endParaRPr lang="de-CH" sz="1200" dirty="0"/>
          </a:p>
        </p:txBody>
      </p:sp>
    </p:spTree>
    <p:extLst>
      <p:ext uri="{BB962C8B-B14F-4D97-AF65-F5344CB8AC3E}">
        <p14:creationId xmlns:p14="http://schemas.microsoft.com/office/powerpoint/2010/main" val="1936025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E7D80AE-DDB9-4706-A077-0346A6A4C039}"/>
              </a:ext>
            </a:extLst>
          </p:cNvPr>
          <p:cNvSpPr/>
          <p:nvPr/>
        </p:nvSpPr>
        <p:spPr>
          <a:xfrm>
            <a:off x="0" y="0"/>
            <a:ext cx="4064400" cy="6858000"/>
          </a:xfrm>
          <a:prstGeom prst="rect">
            <a:avLst/>
          </a:prstGeom>
          <a:solidFill>
            <a:srgbClr val="FED8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05F4D13-D438-4EC9-AF0E-92BA60115064}"/>
              </a:ext>
            </a:extLst>
          </p:cNvPr>
          <p:cNvSpPr txBox="1">
            <a:spLocks/>
          </p:cNvSpPr>
          <p:nvPr/>
        </p:nvSpPr>
        <p:spPr>
          <a:xfrm>
            <a:off x="177457" y="247647"/>
            <a:ext cx="3709485" cy="5616574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2000" b="1" kern="1200" cap="none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400" b="0" dirty="0"/>
              <a:t>In addition:</a:t>
            </a:r>
          </a:p>
          <a:p>
            <a:r>
              <a:rPr lang="en-US" sz="4400" dirty="0"/>
              <a:t>One of the largest Randomized Clinical Trials </a:t>
            </a:r>
          </a:p>
        </p:txBody>
      </p:sp>
      <p:sp>
        <p:nvSpPr>
          <p:cNvPr id="12" name="Date Placeholder 1">
            <a:extLst>
              <a:ext uri="{FF2B5EF4-FFF2-40B4-BE49-F238E27FC236}">
                <a16:creationId xmlns:a16="http://schemas.microsoft.com/office/drawing/2014/main" id="{E55FDAE9-0643-464D-9F30-9CDB196A80D6}"/>
              </a:ext>
            </a:extLst>
          </p:cNvPr>
          <p:cNvSpPr txBox="1">
            <a:spLocks/>
          </p:cNvSpPr>
          <p:nvPr/>
        </p:nvSpPr>
        <p:spPr>
          <a:xfrm>
            <a:off x="10815075" y="6425409"/>
            <a:ext cx="694899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67A0599-3438-4611-B411-78E8BA190F49}" type="datetime1">
              <a:rPr lang="en-US" sz="700" smtClean="0"/>
              <a:pPr algn="r"/>
              <a:t>5/12/2022</a:t>
            </a:fld>
            <a:endParaRPr lang="en-US" sz="700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29215022-86D4-4852-84F6-C3226CC5761B}"/>
              </a:ext>
            </a:extLst>
          </p:cNvPr>
          <p:cNvSpPr txBox="1">
            <a:spLocks/>
          </p:cNvSpPr>
          <p:nvPr/>
        </p:nvSpPr>
        <p:spPr>
          <a:xfrm>
            <a:off x="11579352" y="6425409"/>
            <a:ext cx="476250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8BAED25-F67B-4389-AF81-088E5999745F}" type="slidenum">
              <a:rPr lang="en-US" sz="700" smtClean="0"/>
              <a:pPr algn="r"/>
              <a:t>18</a:t>
            </a:fld>
            <a:endParaRPr lang="en-US" sz="70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5433EC94-92A6-42A4-9DE6-5F42B8274641}"/>
              </a:ext>
            </a:extLst>
          </p:cNvPr>
          <p:cNvSpPr txBox="1">
            <a:spLocks/>
          </p:cNvSpPr>
          <p:nvPr/>
        </p:nvSpPr>
        <p:spPr>
          <a:xfrm>
            <a:off x="4241857" y="247647"/>
            <a:ext cx="7659857" cy="302190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2000" b="1" kern="1200" cap="none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Efficacy of MimetikOss in alveolar ridge preservation</a:t>
            </a:r>
          </a:p>
          <a:p>
            <a:r>
              <a:rPr lang="en-US" sz="1800" dirty="0"/>
              <a:t>before implant placement:</a:t>
            </a:r>
          </a:p>
          <a:p>
            <a:r>
              <a:rPr lang="en-US" sz="1800" dirty="0"/>
              <a:t>A multicenter Randomized Controlled Trial</a:t>
            </a:r>
          </a:p>
          <a:p>
            <a:pPr lvl="3"/>
            <a:r>
              <a:rPr lang="en-US" sz="1400" b="1" dirty="0"/>
              <a:t>Objective: </a:t>
            </a:r>
            <a:r>
              <a:rPr lang="en-US" sz="1400" dirty="0"/>
              <a:t>Non-inferior study comparing the efficacy of MimetikOss against Bio-Oss</a:t>
            </a:r>
          </a:p>
          <a:p>
            <a:pPr lvl="3"/>
            <a:r>
              <a:rPr lang="en-US" sz="1400" b="1" dirty="0"/>
              <a:t>Population: </a:t>
            </a:r>
            <a:r>
              <a:rPr lang="en-US" sz="1400" dirty="0"/>
              <a:t>102 patients randomly separated in two double-blind groups</a:t>
            </a:r>
          </a:p>
          <a:p>
            <a:pPr lvl="3"/>
            <a:r>
              <a:rPr lang="en-US" sz="1400" b="1" dirty="0"/>
              <a:t>Indication: </a:t>
            </a:r>
            <a:r>
              <a:rPr lang="en-US" sz="1400" dirty="0"/>
              <a:t>Alveolar preservation followed by implant placement at 6 months with a</a:t>
            </a:r>
            <a:r>
              <a:rPr lang="en-US" sz="1400" b="1" dirty="0"/>
              <a:t> </a:t>
            </a:r>
            <a:r>
              <a:rPr lang="en-US" sz="1400" dirty="0"/>
              <a:t>follow-up of 12 months</a:t>
            </a:r>
          </a:p>
          <a:p>
            <a:pPr lvl="3"/>
            <a:r>
              <a:rPr lang="en-US" sz="1400" b="1" dirty="0"/>
              <a:t>Multicenter study: </a:t>
            </a:r>
            <a:r>
              <a:rPr lang="en-US" sz="1400" dirty="0"/>
              <a:t>8 centers across Spain and Chile</a:t>
            </a:r>
          </a:p>
          <a:p>
            <a:pPr lvl="3"/>
            <a:r>
              <a:rPr lang="en-US" sz="1400" dirty="0"/>
              <a:t>Authors:</a:t>
            </a:r>
          </a:p>
          <a:p>
            <a:pPr lvl="3"/>
            <a:endParaRPr lang="en-US" sz="14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10" name="Google Shape;524;p86">
            <a:extLst>
              <a:ext uri="{FF2B5EF4-FFF2-40B4-BE49-F238E27FC236}">
                <a16:creationId xmlns:a16="http://schemas.microsoft.com/office/drawing/2014/main" id="{DD3B0A02-2FC5-43CC-8DE7-5C37AB3C7623}"/>
              </a:ext>
            </a:extLst>
          </p:cNvPr>
          <p:cNvSpPr txBox="1"/>
          <p:nvPr/>
        </p:nvSpPr>
        <p:spPr>
          <a:xfrm>
            <a:off x="4754037" y="3681367"/>
            <a:ext cx="2164986" cy="517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Dr Miguel </a:t>
            </a: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Roig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 </a:t>
            </a: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Cayón</a:t>
            </a:r>
            <a:endParaRPr kumimoji="0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Open Sans"/>
              <a:cs typeface="Open Sans"/>
              <a:sym typeface="Open Sans"/>
            </a:endParaRPr>
          </a:p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International University of Catalonia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Open Sans"/>
              <a:cs typeface="Open Sans"/>
              <a:sym typeface="Open Sans"/>
            </a:endParaRPr>
          </a:p>
        </p:txBody>
      </p:sp>
      <p:sp>
        <p:nvSpPr>
          <p:cNvPr id="13" name="Google Shape;525;p86">
            <a:extLst>
              <a:ext uri="{FF2B5EF4-FFF2-40B4-BE49-F238E27FC236}">
                <a16:creationId xmlns:a16="http://schemas.microsoft.com/office/drawing/2014/main" id="{86AB0EF4-BE83-4271-942D-DF5F1A5D3553}"/>
              </a:ext>
            </a:extLst>
          </p:cNvPr>
          <p:cNvSpPr txBox="1"/>
          <p:nvPr/>
        </p:nvSpPr>
        <p:spPr>
          <a:xfrm>
            <a:off x="4754037" y="4517869"/>
            <a:ext cx="2071232" cy="459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Dr </a:t>
            </a: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María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 </a:t>
            </a: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Peñarrocha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 </a:t>
            </a: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Diago</a:t>
            </a:r>
            <a:endParaRPr kumimoji="0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Open Sans"/>
              <a:cs typeface="Open Sans"/>
              <a:sym typeface="Open Sans"/>
            </a:endParaRPr>
          </a:p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University of Valencia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Open Sans"/>
              <a:cs typeface="Open Sans"/>
              <a:sym typeface="Open Sans"/>
            </a:endParaRPr>
          </a:p>
        </p:txBody>
      </p:sp>
      <p:sp>
        <p:nvSpPr>
          <p:cNvPr id="16" name="Google Shape;526;p86">
            <a:extLst>
              <a:ext uri="{FF2B5EF4-FFF2-40B4-BE49-F238E27FC236}">
                <a16:creationId xmlns:a16="http://schemas.microsoft.com/office/drawing/2014/main" id="{BCF01707-818B-4943-8256-1A47395C4B4A}"/>
              </a:ext>
            </a:extLst>
          </p:cNvPr>
          <p:cNvSpPr txBox="1"/>
          <p:nvPr/>
        </p:nvSpPr>
        <p:spPr>
          <a:xfrm>
            <a:off x="4754037" y="5119757"/>
            <a:ext cx="1961060" cy="434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Dr Pablo Galindo Moreno</a:t>
            </a:r>
            <a:endParaRPr kumimoji="0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Open Sans"/>
              <a:cs typeface="Open Sans"/>
              <a:sym typeface="Open Sans"/>
            </a:endParaRPr>
          </a:p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University of Granada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Open Sans"/>
              <a:cs typeface="Open Sans"/>
              <a:sym typeface="Open Sans"/>
            </a:endParaRPr>
          </a:p>
        </p:txBody>
      </p:sp>
      <p:sp>
        <p:nvSpPr>
          <p:cNvPr id="17" name="Google Shape;527;p86">
            <a:extLst>
              <a:ext uri="{FF2B5EF4-FFF2-40B4-BE49-F238E27FC236}">
                <a16:creationId xmlns:a16="http://schemas.microsoft.com/office/drawing/2014/main" id="{7B4D85FC-C18F-4082-9094-D6D423966EE8}"/>
              </a:ext>
            </a:extLst>
          </p:cNvPr>
          <p:cNvSpPr txBox="1"/>
          <p:nvPr/>
        </p:nvSpPr>
        <p:spPr>
          <a:xfrm>
            <a:off x="4754037" y="5803859"/>
            <a:ext cx="2164986" cy="434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Dr Eugenio Velasco Ortega</a:t>
            </a:r>
            <a:endParaRPr kumimoji="0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Open Sans"/>
              <a:cs typeface="Open Sans"/>
              <a:sym typeface="Open Sans"/>
            </a:endParaRPr>
          </a:p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University of 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Sevilla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Open Sans"/>
              <a:cs typeface="Open Sans"/>
              <a:sym typeface="Open Sans"/>
            </a:endParaRPr>
          </a:p>
        </p:txBody>
      </p:sp>
      <p:sp>
        <p:nvSpPr>
          <p:cNvPr id="18" name="Google Shape;529;p86">
            <a:extLst>
              <a:ext uri="{FF2B5EF4-FFF2-40B4-BE49-F238E27FC236}">
                <a16:creationId xmlns:a16="http://schemas.microsoft.com/office/drawing/2014/main" id="{3F963853-8E7D-437A-9399-D45CA5C38C41}"/>
              </a:ext>
            </a:extLst>
          </p:cNvPr>
          <p:cNvSpPr txBox="1"/>
          <p:nvPr/>
        </p:nvSpPr>
        <p:spPr>
          <a:xfrm>
            <a:off x="6919023" y="3681367"/>
            <a:ext cx="2525098" cy="5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Dr </a:t>
            </a: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Ángel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 </a:t>
            </a: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Fernández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 Bustillo</a:t>
            </a:r>
            <a:endParaRPr kumimoji="0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Open Sans"/>
              <a:cs typeface="Open Sans"/>
              <a:sym typeface="Open Sans"/>
            </a:endParaRPr>
          </a:p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Bustillo Clinic 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Open Sans"/>
              <a:cs typeface="Open Sans"/>
              <a:sym typeface="Open Sans"/>
            </a:endParaRPr>
          </a:p>
        </p:txBody>
      </p:sp>
      <p:sp>
        <p:nvSpPr>
          <p:cNvPr id="19" name="Google Shape;528;p86">
            <a:extLst>
              <a:ext uri="{FF2B5EF4-FFF2-40B4-BE49-F238E27FC236}">
                <a16:creationId xmlns:a16="http://schemas.microsoft.com/office/drawing/2014/main" id="{AA1A0F20-1A26-49C9-B023-3E2C64E99285}"/>
              </a:ext>
            </a:extLst>
          </p:cNvPr>
          <p:cNvSpPr txBox="1"/>
          <p:nvPr/>
        </p:nvSpPr>
        <p:spPr>
          <a:xfrm>
            <a:off x="6919023" y="4471852"/>
            <a:ext cx="1777485" cy="5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Dr Renzo Bellini</a:t>
            </a:r>
            <a:endParaRPr kumimoji="0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Open Sans"/>
              <a:cs typeface="Open Sans"/>
              <a:sym typeface="Open Sans"/>
            </a:endParaRPr>
          </a:p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Dental 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Triana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 Clinic 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Open Sans"/>
              <a:cs typeface="Open Sans"/>
              <a:sym typeface="Open Sans"/>
            </a:endParaRPr>
          </a:p>
        </p:txBody>
      </p:sp>
      <p:sp>
        <p:nvSpPr>
          <p:cNvPr id="20" name="Google Shape;530;p86">
            <a:extLst>
              <a:ext uri="{FF2B5EF4-FFF2-40B4-BE49-F238E27FC236}">
                <a16:creationId xmlns:a16="http://schemas.microsoft.com/office/drawing/2014/main" id="{4D385031-D28B-49D1-B30D-121D5DDDB936}"/>
              </a:ext>
            </a:extLst>
          </p:cNvPr>
          <p:cNvSpPr txBox="1"/>
          <p:nvPr/>
        </p:nvSpPr>
        <p:spPr>
          <a:xfrm>
            <a:off x="6965660" y="5085118"/>
            <a:ext cx="1972514" cy="5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Dr Antonio </a:t>
            </a: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Sanz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 Ruiz</a:t>
            </a:r>
            <a:endParaRPr kumimoji="0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Open Sans"/>
              <a:cs typeface="Open Sans"/>
              <a:sym typeface="Open Sans"/>
            </a:endParaRPr>
          </a:p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University of </a:t>
            </a: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los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 Andes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Open Sans"/>
              <a:cs typeface="Open Sans"/>
              <a:sym typeface="Open Sans"/>
            </a:endParaRPr>
          </a:p>
        </p:txBody>
      </p:sp>
      <p:sp>
        <p:nvSpPr>
          <p:cNvPr id="21" name="Google Shape;531;p86">
            <a:extLst>
              <a:ext uri="{FF2B5EF4-FFF2-40B4-BE49-F238E27FC236}">
                <a16:creationId xmlns:a16="http://schemas.microsoft.com/office/drawing/2014/main" id="{F0858912-7747-44D1-A633-FB42916DED88}"/>
              </a:ext>
            </a:extLst>
          </p:cNvPr>
          <p:cNvSpPr txBox="1"/>
          <p:nvPr/>
        </p:nvSpPr>
        <p:spPr>
          <a:xfrm>
            <a:off x="6965660" y="5755109"/>
            <a:ext cx="2316902" cy="5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Dr Manuel Martín </a:t>
            </a: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Luque</a:t>
            </a:r>
            <a:endParaRPr kumimoji="0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Open Sans"/>
              <a:cs typeface="Open Sans"/>
              <a:sym typeface="Open Sans"/>
            </a:endParaRPr>
          </a:p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Open Sans"/>
                <a:cs typeface="Open Sans"/>
                <a:sym typeface="Open Sans"/>
              </a:rPr>
              <a:t>IOC Clinic Dental</a:t>
            </a:r>
            <a:endParaRPr kumimoji="0" sz="1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71457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925DD81-19E0-4A89-84F6-ADF796B1E7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F925DD81-19E0-4A89-84F6-ADF796B1E7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8D9882BA-3E3E-49EC-8181-450DE2A338A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339264-FEF9-4D92-8C06-61878C8BE3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263181"/>
            <a:ext cx="11233150" cy="3209667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dirty="0">
                <a:solidFill>
                  <a:schemeClr val="tx1"/>
                </a:solidFill>
              </a:rPr>
              <a:t>Outcomes of the study:</a:t>
            </a:r>
          </a:p>
          <a:p>
            <a:pPr lvl="2">
              <a:lnSpc>
                <a:spcPct val="150000"/>
              </a:lnSpc>
              <a:spcAft>
                <a:spcPts val="1200"/>
              </a:spcAft>
            </a:pPr>
            <a:r>
              <a:rPr lang="en-US" b="1" dirty="0">
                <a:solidFill>
                  <a:schemeClr val="tx1"/>
                </a:solidFill>
              </a:rPr>
              <a:t>Primary: </a:t>
            </a:r>
          </a:p>
          <a:p>
            <a:pPr lvl="3">
              <a:spcAft>
                <a:spcPts val="1200"/>
              </a:spcAft>
            </a:pPr>
            <a:r>
              <a:rPr lang="en-US" dirty="0"/>
              <a:t>Vertical and horizontal changes of the ridge 6 months post bone grafting </a:t>
            </a:r>
            <a:r>
              <a:rPr lang="en-US" b="1" dirty="0"/>
              <a:t>via CBCT analysis</a:t>
            </a:r>
            <a:endParaRPr lang="en-US" b="1" dirty="0">
              <a:solidFill>
                <a:schemeClr val="tx1"/>
              </a:solidFill>
            </a:endParaRPr>
          </a:p>
          <a:p>
            <a:pPr lvl="2">
              <a:lnSpc>
                <a:spcPct val="150000"/>
              </a:lnSpc>
              <a:spcAft>
                <a:spcPts val="1200"/>
              </a:spcAft>
            </a:pPr>
            <a:r>
              <a:rPr lang="en-US" b="1" dirty="0"/>
              <a:t>Secondary: </a:t>
            </a:r>
          </a:p>
          <a:p>
            <a:pPr lvl="3">
              <a:spcAft>
                <a:spcPts val="1200"/>
              </a:spcAft>
            </a:pPr>
            <a:r>
              <a:rPr lang="en-US" dirty="0"/>
              <a:t>Histological and </a:t>
            </a:r>
            <a:r>
              <a:rPr lang="en-US" dirty="0" err="1"/>
              <a:t>histomorphometrical</a:t>
            </a:r>
            <a:r>
              <a:rPr lang="en-US" dirty="0"/>
              <a:t> analysis </a:t>
            </a:r>
            <a:r>
              <a:rPr lang="en-US" b="1" dirty="0"/>
              <a:t>via a biopsy </a:t>
            </a:r>
            <a:r>
              <a:rPr lang="en-US" dirty="0"/>
              <a:t>taken during implant placement visit</a:t>
            </a:r>
          </a:p>
          <a:p>
            <a:pPr lvl="3">
              <a:spcAft>
                <a:spcPts val="1200"/>
              </a:spcAft>
            </a:pPr>
            <a:r>
              <a:rPr lang="en-US" dirty="0"/>
              <a:t>Implant stability evolution </a:t>
            </a:r>
            <a:r>
              <a:rPr lang="en-US" b="1" dirty="0"/>
              <a:t>via Implant Stability Quotient (ISQ) measurement </a:t>
            </a:r>
            <a:r>
              <a:rPr lang="en-US" dirty="0"/>
              <a:t>and bone quantity and quality </a:t>
            </a:r>
            <a:r>
              <a:rPr lang="en-US" b="1" dirty="0"/>
              <a:t>via visual evaluation (</a:t>
            </a:r>
            <a:r>
              <a:rPr lang="en-US" b="1" dirty="0" err="1"/>
              <a:t>Lekholm</a:t>
            </a:r>
            <a:r>
              <a:rPr lang="en-US" b="1" dirty="0"/>
              <a:t> &amp; </a:t>
            </a:r>
            <a:r>
              <a:rPr lang="en-US" b="1" dirty="0" err="1"/>
              <a:t>Zarb</a:t>
            </a:r>
            <a:r>
              <a:rPr lang="en-US" b="1" dirty="0"/>
              <a:t>)</a:t>
            </a:r>
          </a:p>
          <a:p>
            <a:pPr lvl="3">
              <a:spcAft>
                <a:spcPts val="1200"/>
              </a:spcAft>
            </a:pPr>
            <a:r>
              <a:rPr lang="en-US" dirty="0"/>
              <a:t>Vertical change at 4 &amp; 12 months after implant placement </a:t>
            </a:r>
            <a:r>
              <a:rPr lang="en-US" b="1" dirty="0"/>
              <a:t>via periapical radiograph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EE971-173B-4D42-9DF1-3C848DC7F0E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EF1148-1BBC-4F6B-83F3-2AD205DC07D6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.05.20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B61F3FE-DBF5-420B-9F50-AD8B7547CD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BAED25-F67B-4389-AF81-088E5999745F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AA21DB-D7E7-45B4-9262-C89254066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ndomized Clinical Trial - Introduction</a:t>
            </a:r>
          </a:p>
        </p:txBody>
      </p:sp>
    </p:spTree>
    <p:extLst>
      <p:ext uri="{BB962C8B-B14F-4D97-AF65-F5344CB8AC3E}">
        <p14:creationId xmlns:p14="http://schemas.microsoft.com/office/powerpoint/2010/main" val="34499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81948458-23BB-49D3-A8FB-CEEE90E6720C}"/>
              </a:ext>
            </a:extLst>
          </p:cNvPr>
          <p:cNvSpPr/>
          <p:nvPr/>
        </p:nvSpPr>
        <p:spPr>
          <a:xfrm>
            <a:off x="0" y="3428999"/>
            <a:ext cx="4028460" cy="342900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4" name="Picture Placeholder 23">
            <a:extLst>
              <a:ext uri="{FF2B5EF4-FFF2-40B4-BE49-F238E27FC236}">
                <a16:creationId xmlns:a16="http://schemas.microsoft.com/office/drawing/2014/main" id="{9CA80A86-A001-4E61-B7B5-CA1FEB1152C6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521" r="13527" b="4722"/>
          <a:stretch/>
        </p:blipFill>
        <p:spPr>
          <a:xfrm>
            <a:off x="4028460" y="3404637"/>
            <a:ext cx="4113485" cy="3439204"/>
          </a:xfrm>
        </p:spPr>
      </p:pic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39CAAFE6-40A5-4DEC-B214-7559066C65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39CAAFE6-40A5-4DEC-B214-7559066C65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Inhaltsplatzhalter 2">
            <a:extLst>
              <a:ext uri="{FF2B5EF4-FFF2-40B4-BE49-F238E27FC236}">
                <a16:creationId xmlns:a16="http://schemas.microsoft.com/office/drawing/2014/main" id="{8F7F67BD-CF49-4FD1-9360-E015DCFE6D98}"/>
              </a:ext>
            </a:extLst>
          </p:cNvPr>
          <p:cNvSpPr txBox="1">
            <a:spLocks/>
          </p:cNvSpPr>
          <p:nvPr/>
        </p:nvSpPr>
        <p:spPr>
          <a:xfrm>
            <a:off x="8337094" y="1741218"/>
            <a:ext cx="3717746" cy="4187132"/>
          </a:xfrm>
          <a:prstGeom prst="rect">
            <a:avLst/>
          </a:prstGeom>
        </p:spPr>
        <p:txBody>
          <a:bodyPr vert="horz" lIns="0" tIns="0" rIns="180000" bIns="0" rtlCol="0">
            <a:noAutofit/>
          </a:bodyPr>
          <a:lstStyle>
            <a:lvl1pPr marR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lang="de-DE" sz="4000" b="1" cap="none" spc="0" baseline="0" dirty="0">
                <a:latin typeface="+mj-lt"/>
                <a:ea typeface="+mj-ea"/>
                <a:cs typeface="+mj-cs"/>
              </a:defRPr>
            </a:lvl1pPr>
            <a:lvl2pPr marL="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None/>
              <a:defRPr sz="2000" b="1" spc="0" baseline="0">
                <a:solidFill>
                  <a:srgbClr val="000000"/>
                </a:solidFill>
              </a:defRPr>
            </a:lvl2pPr>
            <a:lvl3pPr marL="0" lvl="2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None/>
              <a:defRPr sz="1600" spc="0" baseline="0">
                <a:solidFill>
                  <a:srgbClr val="000000"/>
                </a:solidFill>
              </a:defRPr>
            </a:lvl3pPr>
            <a:lvl4pPr marL="216000" indent="-216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spc="0" baseline="0">
                <a:solidFill>
                  <a:srgbClr val="000000"/>
                </a:solidFill>
              </a:defRPr>
            </a:lvl4pPr>
            <a:lvl5pPr marL="432000" indent="-21600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spc="0" baseline="0">
                <a:solidFill>
                  <a:srgbClr val="000000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4700" dirty="0"/>
              <a:t>creos™  biomaterials</a:t>
            </a:r>
          </a:p>
          <a:p>
            <a:endParaRPr lang="en-US" sz="3200" dirty="0"/>
          </a:p>
          <a:p>
            <a:r>
              <a:rPr lang="en-US" sz="3400" dirty="0"/>
              <a:t>a comprehensive portfolio for soft tissue &amp; bone regeneration</a:t>
            </a:r>
          </a:p>
        </p:txBody>
      </p:sp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EA555BA2-F3B2-409E-A158-ABDA333B475D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79" t="8937" r="28512" b="16988"/>
          <a:stretch/>
        </p:blipFill>
        <p:spPr>
          <a:xfrm>
            <a:off x="709779" y="1172772"/>
            <a:ext cx="3318681" cy="2172707"/>
          </a:xfrm>
          <a:prstGeom prst="rect">
            <a:avLst/>
          </a:prstGeom>
          <a:solidFill>
            <a:schemeClr val="bg2">
              <a:alpha val="40000"/>
            </a:schemeClr>
          </a:solidFill>
          <a:ln>
            <a:noFill/>
          </a:ln>
        </p:spPr>
      </p:pic>
      <p:pic>
        <p:nvPicPr>
          <p:cNvPr id="17" name="Picture Placeholder 16">
            <a:extLst>
              <a:ext uri="{FF2B5EF4-FFF2-40B4-BE49-F238E27FC236}">
                <a16:creationId xmlns:a16="http://schemas.microsoft.com/office/drawing/2014/main" id="{93DED8CB-E74B-44D9-A56B-C4434D0DDA57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220" t="1062" r="9533" b="8255"/>
          <a:stretch/>
        </p:blipFill>
        <p:spPr>
          <a:xfrm>
            <a:off x="4028460" y="-17151"/>
            <a:ext cx="4113485" cy="3448813"/>
          </a:xfr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E133DEBB-C2D3-4C1B-9FE7-2039E21324B4}"/>
              </a:ext>
            </a:extLst>
          </p:cNvPr>
          <p:cNvSpPr/>
          <p:nvPr/>
        </p:nvSpPr>
        <p:spPr>
          <a:xfrm>
            <a:off x="4102524" y="3503275"/>
            <a:ext cx="3669876" cy="12920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43200" tIns="43200" rIns="18000" bIns="18000" rtlCol="0" anchor="t" anchorCtr="0"/>
          <a:lstStyle/>
          <a:p>
            <a:pPr>
              <a:lnSpc>
                <a:spcPct val="105000"/>
              </a:lnSpc>
            </a:pPr>
            <a:r>
              <a:rPr lang="en-US" sz="2400" b="1" dirty="0">
                <a:solidFill>
                  <a:schemeClr val="tx1"/>
                </a:solidFill>
              </a:rPr>
              <a:t>Bone Graft Substitutes</a:t>
            </a:r>
          </a:p>
          <a:p>
            <a:r>
              <a:rPr lang="en-US" sz="1400" dirty="0"/>
              <a:t>creos™ xenogain</a:t>
            </a:r>
          </a:p>
          <a:p>
            <a:r>
              <a:rPr lang="en-US" sz="1400" dirty="0">
                <a:solidFill>
                  <a:srgbClr val="FF0000"/>
                </a:solidFill>
              </a:rPr>
              <a:t>creos™ </a:t>
            </a:r>
            <a:r>
              <a:rPr lang="en-US" sz="1400" dirty="0" err="1">
                <a:solidFill>
                  <a:srgbClr val="FF0000"/>
                </a:solidFill>
              </a:rPr>
              <a:t>syntogain</a:t>
            </a:r>
            <a:endParaRPr lang="en-US" sz="1400" dirty="0">
              <a:solidFill>
                <a:srgbClr val="FF0000"/>
              </a:solidFill>
            </a:endParaRPr>
          </a:p>
          <a:p>
            <a:r>
              <a:rPr lang="en-US" sz="1400" dirty="0"/>
              <a:t>creos™ </a:t>
            </a:r>
            <a:r>
              <a:rPr lang="en-US" sz="1400" dirty="0" err="1"/>
              <a:t>allo.gain</a:t>
            </a:r>
            <a:endParaRPr lang="en-US" sz="1400" dirty="0"/>
          </a:p>
          <a:p>
            <a:r>
              <a:rPr lang="en-US" sz="1400" dirty="0" err="1"/>
              <a:t>InterOss</a:t>
            </a:r>
            <a:r>
              <a:rPr lang="en-US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  <a:r>
              <a:rPr lang="en-US" sz="1400" dirty="0"/>
              <a:t> </a:t>
            </a:r>
            <a:r>
              <a:rPr lang="en-US" sz="900" dirty="0"/>
              <a:t>(</a:t>
            </a:r>
            <a:r>
              <a:rPr lang="en-US" sz="900" dirty="0" err="1"/>
              <a:t>SigmaGraft</a:t>
            </a:r>
            <a:r>
              <a:rPr lang="en-US" sz="900" dirty="0"/>
              <a:t>)</a:t>
            </a:r>
            <a:r>
              <a:rPr lang="en-US" sz="1400" dirty="0"/>
              <a:t>	           </a:t>
            </a:r>
          </a:p>
          <a:p>
            <a:endParaRPr lang="en-US" sz="1400" dirty="0"/>
          </a:p>
          <a:p>
            <a:pPr>
              <a:lnSpc>
                <a:spcPct val="105000"/>
              </a:lnSpc>
            </a:pP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0D5EAC1-B6AD-4453-BB40-0C6B73C0AB2D}"/>
              </a:ext>
            </a:extLst>
          </p:cNvPr>
          <p:cNvSpPr/>
          <p:nvPr/>
        </p:nvSpPr>
        <p:spPr>
          <a:xfrm>
            <a:off x="90319" y="39224"/>
            <a:ext cx="3140369" cy="864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43200" tIns="43200" rIns="18000" bIns="18000" rtlCol="0" anchor="t" anchorCtr="0"/>
          <a:lstStyle/>
          <a:p>
            <a:pPr>
              <a:lnSpc>
                <a:spcPct val="105000"/>
              </a:lnSpc>
            </a:pPr>
            <a:r>
              <a:rPr lang="en-US" sz="2400" b="1" dirty="0">
                <a:solidFill>
                  <a:schemeClr val="tx1"/>
                </a:solidFill>
              </a:rPr>
              <a:t>Membranes</a:t>
            </a:r>
          </a:p>
          <a:p>
            <a:pPr>
              <a:lnSpc>
                <a:spcPct val="105000"/>
              </a:lnSpc>
            </a:pPr>
            <a:r>
              <a:rPr lang="en-US" sz="1400" dirty="0">
                <a:solidFill>
                  <a:schemeClr val="tx1"/>
                </a:solidFill>
              </a:rPr>
              <a:t>creos™ xenoprotect</a:t>
            </a:r>
          </a:p>
          <a:p>
            <a:pPr>
              <a:lnSpc>
                <a:spcPct val="105000"/>
              </a:lnSpc>
            </a:pPr>
            <a:r>
              <a:rPr lang="en-US" sz="1400" dirty="0">
                <a:solidFill>
                  <a:schemeClr val="tx1"/>
                </a:solidFill>
              </a:rPr>
              <a:t>creos™ </a:t>
            </a:r>
            <a:r>
              <a:rPr lang="en-US" sz="1400" dirty="0" err="1">
                <a:solidFill>
                  <a:schemeClr val="tx1"/>
                </a:solidFill>
              </a:rPr>
              <a:t>syntoprotect</a:t>
            </a:r>
            <a:endParaRPr lang="en-US" sz="1400" dirty="0">
              <a:solidFill>
                <a:schemeClr val="tx1"/>
              </a:solidFill>
            </a:endParaRPr>
          </a:p>
          <a:p>
            <a:pPr>
              <a:lnSpc>
                <a:spcPct val="105000"/>
              </a:lnSpc>
            </a:pPr>
            <a:r>
              <a:rPr lang="en-US" sz="1400" dirty="0">
                <a:solidFill>
                  <a:schemeClr val="tx1"/>
                </a:solidFill>
              </a:rPr>
              <a:t>creos™ </a:t>
            </a:r>
            <a:r>
              <a:rPr lang="en-US" sz="1400" dirty="0" err="1">
                <a:solidFill>
                  <a:schemeClr val="tx1"/>
                </a:solidFill>
              </a:rPr>
              <a:t>allo.protect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6DA6BE1-E944-4EBA-9800-3E0C6E8EF5B8}"/>
              </a:ext>
            </a:extLst>
          </p:cNvPr>
          <p:cNvSpPr/>
          <p:nvPr/>
        </p:nvSpPr>
        <p:spPr>
          <a:xfrm>
            <a:off x="4176953" y="39224"/>
            <a:ext cx="3140369" cy="6944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43200" tIns="43200" rIns="18000" bIns="18000" rtlCol="0" anchor="t" anchorCtr="0"/>
          <a:lstStyle/>
          <a:p>
            <a:pPr>
              <a:lnSpc>
                <a:spcPct val="105000"/>
              </a:lnSpc>
            </a:pPr>
            <a:r>
              <a:rPr lang="en-US" sz="2400" b="1">
                <a:solidFill>
                  <a:schemeClr val="bg1"/>
                </a:solidFill>
              </a:rPr>
              <a:t>Matrix</a:t>
            </a:r>
          </a:p>
          <a:p>
            <a:pPr>
              <a:lnSpc>
                <a:spcPct val="105000"/>
              </a:lnSpc>
            </a:pPr>
            <a:r>
              <a:rPr lang="en-US" sz="1400">
                <a:solidFill>
                  <a:schemeClr val="bg1"/>
                </a:solidFill>
              </a:rPr>
              <a:t>creos™ </a:t>
            </a:r>
            <a:r>
              <a:rPr lang="en-US" sz="1400" err="1">
                <a:solidFill>
                  <a:schemeClr val="bg1"/>
                </a:solidFill>
              </a:rPr>
              <a:t>mucogain</a:t>
            </a:r>
            <a:endParaRPr lang="en-US" sz="1400">
              <a:solidFill>
                <a:schemeClr val="bg1"/>
              </a:solidFill>
            </a:endParaRPr>
          </a:p>
          <a:p>
            <a:pPr>
              <a:lnSpc>
                <a:spcPct val="105000"/>
              </a:lnSpc>
            </a:pP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EE8F672-829A-41DF-BCA4-FD66E41F7631}"/>
              </a:ext>
            </a:extLst>
          </p:cNvPr>
          <p:cNvSpPr/>
          <p:nvPr/>
        </p:nvSpPr>
        <p:spPr>
          <a:xfrm>
            <a:off x="90318" y="3535821"/>
            <a:ext cx="3818148" cy="6944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43200" tIns="43200" rIns="18000" bIns="18000" rtlCol="0" anchor="t" anchorCtr="0"/>
          <a:lstStyle/>
          <a:p>
            <a:pPr>
              <a:lnSpc>
                <a:spcPct val="105000"/>
              </a:lnSpc>
            </a:pPr>
            <a:r>
              <a:rPr lang="en-US" sz="2400" b="1">
                <a:solidFill>
                  <a:schemeClr val="bg1"/>
                </a:solidFill>
              </a:rPr>
              <a:t>Wound Dressings</a:t>
            </a:r>
          </a:p>
          <a:p>
            <a:pPr>
              <a:lnSpc>
                <a:spcPct val="105000"/>
              </a:lnSpc>
            </a:pPr>
            <a:r>
              <a:rPr lang="en-US" sz="1400">
                <a:solidFill>
                  <a:schemeClr val="bg1"/>
                </a:solidFill>
              </a:rPr>
              <a:t>creos™ </a:t>
            </a:r>
            <a:r>
              <a:rPr lang="en-US" sz="1400" err="1">
                <a:solidFill>
                  <a:schemeClr val="bg1"/>
                </a:solidFill>
              </a:rPr>
              <a:t>xenoplug</a:t>
            </a:r>
            <a:endParaRPr lang="en-US" sz="1400">
              <a:solidFill>
                <a:schemeClr val="bg1"/>
              </a:solidFill>
            </a:endParaRPr>
          </a:p>
          <a:p>
            <a:pPr>
              <a:lnSpc>
                <a:spcPct val="105000"/>
              </a:lnSpc>
            </a:pPr>
            <a:r>
              <a:rPr lang="en-US" sz="1400">
                <a:solidFill>
                  <a:schemeClr val="bg1"/>
                </a:solidFill>
              </a:rPr>
              <a:t>creos™ </a:t>
            </a:r>
            <a:r>
              <a:rPr lang="en-US" sz="1400" err="1">
                <a:solidFill>
                  <a:schemeClr val="bg1"/>
                </a:solidFill>
              </a:rPr>
              <a:t>xenocote</a:t>
            </a:r>
            <a:endParaRPr lang="en-US" sz="1400">
              <a:solidFill>
                <a:schemeClr val="bg1"/>
              </a:solidFill>
            </a:endParaRPr>
          </a:p>
          <a:p>
            <a:pPr>
              <a:lnSpc>
                <a:spcPct val="105000"/>
              </a:lnSpc>
            </a:pPr>
            <a:r>
              <a:rPr lang="en-US" sz="1400">
                <a:solidFill>
                  <a:schemeClr val="bg1"/>
                </a:solidFill>
              </a:rPr>
              <a:t>creos™ </a:t>
            </a:r>
            <a:r>
              <a:rPr lang="en-US" sz="1400" err="1">
                <a:solidFill>
                  <a:schemeClr val="bg1"/>
                </a:solidFill>
              </a:rPr>
              <a:t>xenotape</a:t>
            </a:r>
            <a:endParaRPr lang="en-US" sz="1400">
              <a:solidFill>
                <a:schemeClr val="bg1"/>
              </a:solidFill>
            </a:endParaRPr>
          </a:p>
          <a:p>
            <a:pPr>
              <a:lnSpc>
                <a:spcPct val="105000"/>
              </a:lnSpc>
            </a:pPr>
            <a:endParaRPr lang="en-US" b="1">
              <a:solidFill>
                <a:schemeClr val="bg1"/>
              </a:solidFill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40828749-8928-4B32-B2D0-7E14DDBFFC8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66" t="16872" r="5081" b="8077"/>
          <a:stretch/>
        </p:blipFill>
        <p:spPr>
          <a:xfrm>
            <a:off x="137160" y="4609852"/>
            <a:ext cx="3818148" cy="2211572"/>
          </a:xfrm>
          <a:prstGeom prst="rect">
            <a:avLst/>
          </a:prstGeom>
        </p:spPr>
      </p:pic>
      <p:sp>
        <p:nvSpPr>
          <p:cNvPr id="63" name="Date Placeholder 1">
            <a:extLst>
              <a:ext uri="{FF2B5EF4-FFF2-40B4-BE49-F238E27FC236}">
                <a16:creationId xmlns:a16="http://schemas.microsoft.com/office/drawing/2014/main" id="{58287F72-40F6-4247-B78C-8C9F1A744757}"/>
              </a:ext>
            </a:extLst>
          </p:cNvPr>
          <p:cNvSpPr txBox="1">
            <a:spLocks/>
          </p:cNvSpPr>
          <p:nvPr/>
        </p:nvSpPr>
        <p:spPr>
          <a:xfrm>
            <a:off x="10815075" y="6425409"/>
            <a:ext cx="694899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67A0599-3438-4611-B411-78E8BA190F49}" type="datetime1">
              <a:rPr lang="en-US" sz="700" smtClean="0"/>
              <a:pPr algn="r"/>
              <a:t>5/12/2022</a:t>
            </a:fld>
            <a:endParaRPr lang="en-US" sz="700" dirty="0"/>
          </a:p>
        </p:txBody>
      </p:sp>
      <p:sp>
        <p:nvSpPr>
          <p:cNvPr id="64" name="Slide Number Placeholder 3">
            <a:extLst>
              <a:ext uri="{FF2B5EF4-FFF2-40B4-BE49-F238E27FC236}">
                <a16:creationId xmlns:a16="http://schemas.microsoft.com/office/drawing/2014/main" id="{6CBC4BE6-AF25-49CB-88E3-45BDB13A709B}"/>
              </a:ext>
            </a:extLst>
          </p:cNvPr>
          <p:cNvSpPr txBox="1">
            <a:spLocks/>
          </p:cNvSpPr>
          <p:nvPr/>
        </p:nvSpPr>
        <p:spPr>
          <a:xfrm>
            <a:off x="11579352" y="6425409"/>
            <a:ext cx="476250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8BAED25-F67B-4389-AF81-088E5999745F}" type="slidenum">
              <a:rPr lang="en-US" sz="700" smtClean="0"/>
              <a:pPr algn="r"/>
              <a:t>2</a:t>
            </a:fld>
            <a:endParaRPr lang="en-US" sz="70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35828A48-7B0E-4A3D-A078-5F2CAB1DA7C4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0949" y="522739"/>
            <a:ext cx="157666" cy="158898"/>
          </a:xfrm>
          <a:prstGeom prst="ellipse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AA588393-89B2-469D-9BE4-4DC2332D03F5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2391" y="522739"/>
            <a:ext cx="158898" cy="158898"/>
          </a:xfrm>
          <a:prstGeom prst="ellipse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342C876D-CC66-404E-A892-FF26B0E2AF09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2391" y="943022"/>
            <a:ext cx="158898" cy="158898"/>
          </a:xfrm>
          <a:prstGeom prst="ellipse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7A7266C2-085B-44DD-BF24-30B2AB0D80D2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1781" y="522739"/>
            <a:ext cx="157666" cy="158898"/>
          </a:xfrm>
          <a:prstGeom prst="ellipse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E11BCE8A-F6F3-4585-BF20-E0D4D16B6EA8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0503" y="4003985"/>
            <a:ext cx="158898" cy="158898"/>
          </a:xfrm>
          <a:prstGeom prst="ellipse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5E6D9E1C-C4D1-42EA-B732-3C6988BBA22E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0503" y="4230245"/>
            <a:ext cx="158898" cy="158898"/>
          </a:xfrm>
          <a:prstGeom prst="ellipse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F6D08803-B624-4EC0-AE48-B9293CDC41AF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0503" y="4450954"/>
            <a:ext cx="158898" cy="158898"/>
          </a:xfrm>
          <a:prstGeom prst="ellipse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02811FA0-9946-4B0D-8F5F-35327EA3ADA2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9292" y="3992234"/>
            <a:ext cx="157666" cy="158898"/>
          </a:xfrm>
          <a:prstGeom prst="ellipse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CF582483-F944-4B04-8206-93778203C5BF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5974" y="3992234"/>
            <a:ext cx="158898" cy="158898"/>
          </a:xfrm>
          <a:prstGeom prst="ellipse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DC6F02AF-2E68-468C-8503-BD3B8986180F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0949" y="738393"/>
            <a:ext cx="157666" cy="158898"/>
          </a:xfrm>
          <a:prstGeom prst="ellipse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13C3255-4147-4CCC-B868-C2A51B0B8416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2391" y="738393"/>
            <a:ext cx="158898" cy="158898"/>
          </a:xfrm>
          <a:prstGeom prst="ellipse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7720F187-7848-48DA-BE63-7AAECCAF68ED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259" r="22259"/>
          <a:stretch/>
        </p:blipFill>
        <p:spPr>
          <a:xfrm>
            <a:off x="6815974" y="4564018"/>
            <a:ext cx="158898" cy="158898"/>
          </a:xfrm>
          <a:prstGeom prst="ellipse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022607A-1003-4F29-B64E-75F4CC29C71E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259" r="22259"/>
          <a:stretch/>
        </p:blipFill>
        <p:spPr>
          <a:xfrm>
            <a:off x="2318275" y="522739"/>
            <a:ext cx="158898" cy="158898"/>
          </a:xfrm>
          <a:prstGeom prst="ellipse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29D5DA60-0933-49C9-9C8B-B41107167F7E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5974" y="4389143"/>
            <a:ext cx="158898" cy="158898"/>
          </a:xfrm>
          <a:prstGeom prst="ellipse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8F222039-D96B-4728-9142-702A7F8DC1FB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5974" y="4194439"/>
            <a:ext cx="157666" cy="158898"/>
          </a:xfrm>
          <a:prstGeom prst="ellipse">
            <a:avLst/>
          </a:prstGeom>
        </p:spPr>
      </p:pic>
      <p:sp>
        <p:nvSpPr>
          <p:cNvPr id="35" name="Arrow: Right 34">
            <a:extLst>
              <a:ext uri="{FF2B5EF4-FFF2-40B4-BE49-F238E27FC236}">
                <a16:creationId xmlns:a16="http://schemas.microsoft.com/office/drawing/2014/main" id="{355AC15C-721F-48C0-BFA1-70EB6A3AA680}"/>
              </a:ext>
            </a:extLst>
          </p:cNvPr>
          <p:cNvSpPr/>
          <p:nvPr/>
        </p:nvSpPr>
        <p:spPr>
          <a:xfrm rot="9875631">
            <a:off x="7212599" y="3795456"/>
            <a:ext cx="750013" cy="734854"/>
          </a:xfrm>
          <a:prstGeom prst="rightArrow">
            <a:avLst/>
          </a:prstGeom>
          <a:solidFill>
            <a:srgbClr val="E03E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51161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925DD81-19E0-4A89-84F6-ADF796B1E7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F925DD81-19E0-4A89-84F6-ADF796B1E7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8D9882BA-3E3E-49EC-8181-450DE2A338A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339264-FEF9-4D92-8C06-61878C8BE3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378460"/>
            <a:ext cx="11233150" cy="730004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Dimensional variation of the alveolar ridge: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Measurements were made on CBCT, based on anatomical reference points (sinus floor or mandibular canal)</a:t>
            </a:r>
          </a:p>
          <a:p>
            <a:pPr lvl="2"/>
            <a:endParaRPr lang="en-US" dirty="0"/>
          </a:p>
          <a:p>
            <a:pPr lvl="2"/>
            <a:endParaRPr lang="en-US" dirty="0">
              <a:solidFill>
                <a:schemeClr val="tx1"/>
              </a:solidFill>
            </a:endParaRPr>
          </a:p>
          <a:p>
            <a:pPr lvl="2"/>
            <a:endParaRPr lang="en-US" dirty="0"/>
          </a:p>
          <a:p>
            <a:pPr lvl="2"/>
            <a:endParaRPr lang="en-US" dirty="0">
              <a:solidFill>
                <a:schemeClr val="tx1"/>
              </a:solidFill>
            </a:endParaRPr>
          </a:p>
          <a:p>
            <a:pPr lvl="2"/>
            <a:endParaRPr lang="en-US" dirty="0"/>
          </a:p>
          <a:p>
            <a:pPr lvl="2"/>
            <a:endParaRPr lang="en-US" dirty="0">
              <a:solidFill>
                <a:schemeClr val="tx1"/>
              </a:solidFill>
            </a:endParaRPr>
          </a:p>
          <a:p>
            <a:pPr lvl="2"/>
            <a:endParaRPr lang="en-US" dirty="0"/>
          </a:p>
          <a:p>
            <a:pPr lvl="2"/>
            <a:endParaRPr lang="en-US" dirty="0">
              <a:solidFill>
                <a:schemeClr val="tx1"/>
              </a:solidFill>
            </a:endParaRPr>
          </a:p>
          <a:p>
            <a:pPr lvl="2"/>
            <a:endParaRPr lang="en-US" dirty="0"/>
          </a:p>
          <a:p>
            <a:pPr lvl="2"/>
            <a:endParaRPr lang="en-US" dirty="0">
              <a:solidFill>
                <a:schemeClr val="tx1"/>
              </a:solidFill>
            </a:endParaRPr>
          </a:p>
          <a:p>
            <a:pPr lvl="2"/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EE971-173B-4D42-9DF1-3C848DC7F0E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EF1148-1BBC-4F6B-83F3-2AD205DC07D6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.05.20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B61F3FE-DBF5-420B-9F50-AD8B7547CD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BAED25-F67B-4389-AF81-088E5999745F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AA21DB-D7E7-45B4-9262-C89254066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ndomized Clinical Trial - Results</a:t>
            </a:r>
          </a:p>
        </p:txBody>
      </p:sp>
      <p:graphicFrame>
        <p:nvGraphicFramePr>
          <p:cNvPr id="13" name="Gráfico 12"/>
          <p:cNvGraphicFramePr/>
          <p:nvPr>
            <p:extLst>
              <p:ext uri="{D42A27DB-BD31-4B8C-83A1-F6EECF244321}">
                <p14:modId xmlns:p14="http://schemas.microsoft.com/office/powerpoint/2010/main" val="4220001413"/>
              </p:ext>
            </p:extLst>
          </p:nvPr>
        </p:nvGraphicFramePr>
        <p:xfrm>
          <a:off x="6003986" y="2300862"/>
          <a:ext cx="5708590" cy="3401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Rectángulo 15">
            <a:extLst>
              <a:ext uri="{FF2B5EF4-FFF2-40B4-BE49-F238E27FC236}">
                <a16:creationId xmlns:a16="http://schemas.microsoft.com/office/drawing/2014/main" id="{62660EF0-D698-44CC-B80F-31FFCA3CA6A5}"/>
              </a:ext>
            </a:extLst>
          </p:cNvPr>
          <p:cNvSpPr/>
          <p:nvPr/>
        </p:nvSpPr>
        <p:spPr>
          <a:xfrm>
            <a:off x="228111" y="5894457"/>
            <a:ext cx="11735777" cy="338554"/>
          </a:xfrm>
          <a:prstGeom prst="rect">
            <a:avLst/>
          </a:prstGeom>
          <a:solidFill>
            <a:srgbClr val="007398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255588" indent="-163513" algn="ctr" defTabSz="4572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Non inferiority established for creos </a:t>
            </a:r>
            <a:r>
              <a:rPr lang="en-US" sz="1600" dirty="0" err="1">
                <a:solidFill>
                  <a:schemeClr val="bg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yntogain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when compared to Bio-Oss in terms of vertical and horizontal changes.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55F01C5-AB58-46ED-BCD7-D244B9D0A4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4418963"/>
              </p:ext>
            </p:extLst>
          </p:nvPr>
        </p:nvGraphicFramePr>
        <p:xfrm>
          <a:off x="479424" y="2752090"/>
          <a:ext cx="4283076" cy="15367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70769">
                  <a:extLst>
                    <a:ext uri="{9D8B030D-6E8A-4147-A177-3AD203B41FA5}">
                      <a16:colId xmlns:a16="http://schemas.microsoft.com/office/drawing/2014/main" val="3426755889"/>
                    </a:ext>
                  </a:extLst>
                </a:gridCol>
                <a:gridCol w="1070769">
                  <a:extLst>
                    <a:ext uri="{9D8B030D-6E8A-4147-A177-3AD203B41FA5}">
                      <a16:colId xmlns:a16="http://schemas.microsoft.com/office/drawing/2014/main" val="1541098908"/>
                    </a:ext>
                  </a:extLst>
                </a:gridCol>
                <a:gridCol w="1070769">
                  <a:extLst>
                    <a:ext uri="{9D8B030D-6E8A-4147-A177-3AD203B41FA5}">
                      <a16:colId xmlns:a16="http://schemas.microsoft.com/office/drawing/2014/main" val="2357908092"/>
                    </a:ext>
                  </a:extLst>
                </a:gridCol>
                <a:gridCol w="1070769">
                  <a:extLst>
                    <a:ext uri="{9D8B030D-6E8A-4147-A177-3AD203B41FA5}">
                      <a16:colId xmlns:a16="http://schemas.microsoft.com/office/drawing/2014/main" val="1221645567"/>
                    </a:ext>
                  </a:extLst>
                </a:gridCol>
              </a:tblGrid>
              <a:tr h="401320">
                <a:tc gridSpan="2">
                  <a:txBody>
                    <a:bodyPr/>
                    <a:lstStyle/>
                    <a:p>
                      <a:pPr algn="ctr"/>
                      <a:r>
                        <a:rPr lang="de-CH" sz="1000" dirty="0">
                          <a:effectLst/>
                        </a:rPr>
                        <a:t>Variable</a:t>
                      </a:r>
                      <a:endParaRPr lang="de-CH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63500" marB="63500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dirty="0" err="1">
                          <a:effectLst/>
                        </a:rPr>
                        <a:t>Biomimetic</a:t>
                      </a:r>
                      <a:r>
                        <a:rPr lang="de-CH" sz="1000" dirty="0">
                          <a:effectLst/>
                        </a:rPr>
                        <a:t> SBG</a:t>
                      </a:r>
                    </a:p>
                    <a:p>
                      <a:pPr algn="ctr"/>
                      <a:r>
                        <a:rPr lang="de-CH" sz="1000" dirty="0">
                          <a:effectLst/>
                        </a:rPr>
                        <a:t>n=42</a:t>
                      </a:r>
                      <a:endParaRPr lang="de-CH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dirty="0">
                          <a:effectLst/>
                        </a:rPr>
                        <a:t>Reference DBBM</a:t>
                      </a:r>
                    </a:p>
                    <a:p>
                      <a:pPr algn="ctr"/>
                      <a:r>
                        <a:rPr lang="de-CH" sz="1000" dirty="0">
                          <a:effectLst/>
                        </a:rPr>
                        <a:t>n=41</a:t>
                      </a:r>
                      <a:endParaRPr lang="de-CH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63500" marB="63500"/>
                </a:tc>
                <a:extLst>
                  <a:ext uri="{0D108BD9-81ED-4DB2-BD59-A6C34878D82A}">
                    <a16:rowId xmlns:a16="http://schemas.microsoft.com/office/drawing/2014/main" val="1494804848"/>
                  </a:ext>
                </a:extLst>
              </a:tr>
              <a:tr h="476250">
                <a:tc rowSpan="2">
                  <a:txBody>
                    <a:bodyPr/>
                    <a:lstStyle/>
                    <a:p>
                      <a:pPr algn="ctr"/>
                      <a:r>
                        <a:rPr lang="de-CH" sz="1000">
                          <a:effectLst/>
                        </a:rPr>
                        <a:t>Bone quantity changes based on CBCT</a:t>
                      </a:r>
                      <a:endParaRPr lang="de-CH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algn="r"/>
                      <a:r>
                        <a:rPr lang="de-CH" sz="1000">
                          <a:effectLst/>
                        </a:rPr>
                        <a:t>% change width</a:t>
                      </a:r>
                      <a:endParaRPr lang="de-CH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>
                          <a:effectLst/>
                        </a:rPr>
                        <a:t>-1.78</a:t>
                      </a:r>
                      <a:endParaRPr lang="de-CH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>
                          <a:effectLst/>
                        </a:rPr>
                        <a:t>-2.16</a:t>
                      </a:r>
                      <a:endParaRPr lang="de-CH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63500" marB="63500"/>
                </a:tc>
                <a:extLst>
                  <a:ext uri="{0D108BD9-81ED-4DB2-BD59-A6C34878D82A}">
                    <a16:rowId xmlns:a16="http://schemas.microsoft.com/office/drawing/2014/main" val="803385895"/>
                  </a:ext>
                </a:extLst>
              </a:tr>
              <a:tr h="476250">
                <a:tc v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e-CH" sz="1000">
                          <a:effectLst/>
                        </a:rPr>
                        <a:t>% change height</a:t>
                      </a:r>
                      <a:endParaRPr lang="de-CH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>
                          <a:effectLst/>
                        </a:rPr>
                        <a:t>1.35</a:t>
                      </a:r>
                      <a:endParaRPr lang="de-CH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000" dirty="0">
                          <a:effectLst/>
                        </a:rPr>
                        <a:t>2.99</a:t>
                      </a:r>
                      <a:endParaRPr lang="de-CH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500" marR="63500" marT="63500" marB="63500"/>
                </a:tc>
                <a:extLst>
                  <a:ext uri="{0D108BD9-81ED-4DB2-BD59-A6C34878D82A}">
                    <a16:rowId xmlns:a16="http://schemas.microsoft.com/office/drawing/2014/main" val="25350887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38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925DD81-19E0-4A89-84F6-ADF796B1E7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F925DD81-19E0-4A89-84F6-ADF796B1E7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8D9882BA-3E3E-49EC-8181-450DE2A338A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339264-FEF9-4D92-8C06-61878C8BE3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1322" y="1449388"/>
            <a:ext cx="11252501" cy="4899654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Implant stability and insertion torque: </a:t>
            </a:r>
          </a:p>
          <a:p>
            <a:pPr lvl="1"/>
            <a:r>
              <a:rPr lang="en-US" dirty="0">
                <a:solidFill>
                  <a:schemeClr val="tx1"/>
                </a:solidFill>
              </a:rPr>
              <a:t>Measured at the time of implant placement, 6 months post-bone grafting</a:t>
            </a:r>
          </a:p>
          <a:p>
            <a:r>
              <a:rPr lang="en-US" sz="1600" b="0" dirty="0" err="1"/>
              <a:t>NobelParallel</a:t>
            </a:r>
            <a:r>
              <a:rPr lang="en-US" sz="1600" b="0" baseline="30000" dirty="0" err="1"/>
              <a:t>TM</a:t>
            </a:r>
            <a:r>
              <a:rPr lang="en-US" sz="1600" b="0" dirty="0"/>
              <a:t> CC implant was used</a:t>
            </a:r>
          </a:p>
          <a:p>
            <a:endParaRPr lang="en-US" sz="1600" b="0" dirty="0"/>
          </a:p>
          <a:p>
            <a:endParaRPr lang="en-US" sz="1600" b="0" dirty="0"/>
          </a:p>
          <a:p>
            <a:endParaRPr lang="en-US" sz="1600" b="0" dirty="0"/>
          </a:p>
          <a:p>
            <a:endParaRPr lang="en-US" sz="1600" b="0" dirty="0"/>
          </a:p>
          <a:p>
            <a:endParaRPr lang="en-US" sz="1600" b="0" dirty="0"/>
          </a:p>
          <a:p>
            <a:endParaRPr lang="en-US" sz="1600" b="0" dirty="0"/>
          </a:p>
          <a:p>
            <a:endParaRPr lang="en-US" sz="1600" b="0" dirty="0"/>
          </a:p>
          <a:p>
            <a:endParaRPr lang="en-US" sz="1600" b="0" dirty="0"/>
          </a:p>
          <a:p>
            <a:endParaRPr lang="en-US" sz="1600" dirty="0"/>
          </a:p>
          <a:p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40EE971-173B-4D42-9DF1-3C848DC7F0E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EF1148-1BBC-4F6B-83F3-2AD205DC07D6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.05.202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B61F3FE-DBF5-420B-9F50-AD8B7547CD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BAED25-F67B-4389-AF81-088E5999745F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EAA21DB-D7E7-45B4-9262-C89254066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ndomized Clinical Trial - Results</a:t>
            </a:r>
          </a:p>
        </p:txBody>
      </p:sp>
      <p:graphicFrame>
        <p:nvGraphicFramePr>
          <p:cNvPr id="10" name="Google Shape;643;p94"/>
          <p:cNvGraphicFramePr/>
          <p:nvPr>
            <p:extLst>
              <p:ext uri="{D42A27DB-BD31-4B8C-83A1-F6EECF244321}">
                <p14:modId xmlns:p14="http://schemas.microsoft.com/office/powerpoint/2010/main" val="2960669769"/>
              </p:ext>
            </p:extLst>
          </p:nvPr>
        </p:nvGraphicFramePr>
        <p:xfrm>
          <a:off x="879893" y="2710149"/>
          <a:ext cx="5683809" cy="2318243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2039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99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599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996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88043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dirty="0">
                        <a:solidFill>
                          <a:srgbClr val="FFFFFF"/>
                        </a:solidFill>
                      </a:endParaRPr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b="1" dirty="0" err="1">
                          <a:solidFill>
                            <a:srgbClr val="FFFFFF"/>
                          </a:solidFill>
                        </a:rPr>
                        <a:t>syntogain</a:t>
                      </a:r>
                      <a:endParaRPr lang="en-GB" sz="1200" b="1" dirty="0">
                        <a:solidFill>
                          <a:srgbClr val="FFFFFF"/>
                        </a:solidFill>
                      </a:endParaRP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b="1" dirty="0">
                          <a:solidFill>
                            <a:srgbClr val="FFFFFF"/>
                          </a:solidFill>
                        </a:rPr>
                        <a:t>n= 45</a:t>
                      </a:r>
                      <a:endParaRPr sz="1200" b="1" dirty="0">
                        <a:solidFill>
                          <a:srgbClr val="FFFFFF"/>
                        </a:solidFill>
                      </a:endParaRPr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b="1" dirty="0">
                          <a:solidFill>
                            <a:srgbClr val="FFFFFF"/>
                          </a:solidFill>
                        </a:rPr>
                        <a:t>Bio-Oss</a:t>
                      </a:r>
                    </a:p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b="1" dirty="0">
                          <a:solidFill>
                            <a:srgbClr val="FFFFFF"/>
                          </a:solidFill>
                        </a:rPr>
                        <a:t>n= 43</a:t>
                      </a:r>
                      <a:endParaRPr sz="1200" b="1" dirty="0">
                        <a:solidFill>
                          <a:srgbClr val="FFFFFF"/>
                        </a:solidFill>
                      </a:endParaRPr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b="1" dirty="0">
                          <a:solidFill>
                            <a:srgbClr val="FFFFFF"/>
                          </a:solidFill>
                        </a:rPr>
                        <a:t>t-test</a:t>
                      </a:r>
                      <a:endParaRPr sz="1200" b="1" dirty="0">
                        <a:solidFill>
                          <a:srgbClr val="FFFFFF"/>
                        </a:solidFill>
                      </a:endParaRPr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3442"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b="1" dirty="0"/>
                        <a:t>Insertion Torque (N.cm</a:t>
                      </a:r>
                      <a:r>
                        <a:rPr lang="es-ES" sz="1200" i="1" baseline="30000" dirty="0"/>
                        <a:t>-1</a:t>
                      </a:r>
                      <a:r>
                        <a:rPr lang="en-GB" sz="1200" b="1" dirty="0"/>
                        <a:t>)</a:t>
                      </a:r>
                      <a:endParaRPr sz="1200" b="1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b="1" dirty="0"/>
                        <a:t>36.2</a:t>
                      </a:r>
                      <a:endParaRPr sz="1200" b="1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b="1" dirty="0"/>
                        <a:t>35.1</a:t>
                      </a:r>
                      <a:endParaRPr sz="1200" b="1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dirty="0"/>
                        <a:t>0.676</a:t>
                      </a:r>
                      <a:endParaRPr sz="12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3611"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dirty="0" err="1">
                          <a:solidFill>
                            <a:srgbClr val="999999"/>
                          </a:solidFill>
                        </a:rPr>
                        <a:t>StDev</a:t>
                      </a:r>
                      <a:endParaRPr sz="1200" dirty="0">
                        <a:solidFill>
                          <a:srgbClr val="999999"/>
                        </a:solidFill>
                      </a:endParaRPr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dirty="0">
                          <a:solidFill>
                            <a:srgbClr val="999999"/>
                          </a:solidFill>
                        </a:rPr>
                        <a:t>12.4</a:t>
                      </a:r>
                      <a:endParaRPr sz="1200" dirty="0">
                        <a:solidFill>
                          <a:srgbClr val="999999"/>
                        </a:solidFill>
                      </a:endParaRPr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dirty="0">
                          <a:solidFill>
                            <a:srgbClr val="999999"/>
                          </a:solidFill>
                        </a:rPr>
                        <a:t>13.6</a:t>
                      </a:r>
                      <a:endParaRPr sz="1200" dirty="0">
                        <a:solidFill>
                          <a:srgbClr val="999999"/>
                        </a:solidFill>
                      </a:endParaRPr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6094">
                <a:tc gridSpan="4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3442"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b="1" dirty="0"/>
                        <a:t>ISQ</a:t>
                      </a:r>
                      <a:endParaRPr sz="1200" b="1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b="1" dirty="0"/>
                        <a:t>70.2</a:t>
                      </a:r>
                      <a:endParaRPr sz="1200" b="1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b="1" dirty="0"/>
                        <a:t>70.8</a:t>
                      </a:r>
                      <a:endParaRPr sz="1200" b="1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dirty="0"/>
                        <a:t>0.770</a:t>
                      </a:r>
                      <a:endParaRPr sz="12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3611">
                <a:tc>
                  <a:txBody>
                    <a:bodyPr/>
                    <a:lstStyle/>
                    <a:p>
                      <a:pPr marL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>
                          <a:solidFill>
                            <a:srgbClr val="999999"/>
                          </a:solidFill>
                        </a:rPr>
                        <a:t>StDev</a:t>
                      </a:r>
                      <a:endParaRPr sz="1200">
                        <a:solidFill>
                          <a:srgbClr val="999999"/>
                        </a:solidFill>
                      </a:endParaRPr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dirty="0">
                          <a:solidFill>
                            <a:srgbClr val="999999"/>
                          </a:solidFill>
                        </a:rPr>
                        <a:t>12.0</a:t>
                      </a:r>
                      <a:endParaRPr sz="1200" dirty="0">
                        <a:solidFill>
                          <a:srgbClr val="999999"/>
                        </a:solidFill>
                      </a:endParaRPr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200" dirty="0">
                          <a:solidFill>
                            <a:srgbClr val="999999"/>
                          </a:solidFill>
                        </a:rPr>
                        <a:t>9.2</a:t>
                      </a:r>
                      <a:endParaRPr sz="1200" dirty="0">
                        <a:solidFill>
                          <a:srgbClr val="999999"/>
                        </a:solidFill>
                      </a:endParaRPr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200" dirty="0"/>
                    </a:p>
                  </a:txBody>
                  <a:tcPr marL="28575" marR="28575" marT="19050" marB="19050" anchor="b">
                    <a:lnL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CCCCCC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1" name="Rectángulo 15">
            <a:extLst>
              <a:ext uri="{FF2B5EF4-FFF2-40B4-BE49-F238E27FC236}">
                <a16:creationId xmlns:a16="http://schemas.microsoft.com/office/drawing/2014/main" id="{75B7D7A4-4DC9-43AA-BC29-AA9EFE3FDA9D}"/>
              </a:ext>
            </a:extLst>
          </p:cNvPr>
          <p:cNvSpPr/>
          <p:nvPr/>
        </p:nvSpPr>
        <p:spPr>
          <a:xfrm>
            <a:off x="228111" y="5643050"/>
            <a:ext cx="11735777" cy="628061"/>
          </a:xfrm>
          <a:prstGeom prst="rect">
            <a:avLst/>
          </a:prstGeom>
          <a:solidFill>
            <a:srgbClr val="007398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No statistically significant difference was observed when comparing creos </a:t>
            </a:r>
            <a:r>
              <a:rPr lang="en-US" sz="1600" dirty="0" err="1">
                <a:solidFill>
                  <a:schemeClr val="bg1"/>
                </a:solidFill>
              </a:rPr>
              <a:t>syntogain</a:t>
            </a:r>
            <a:r>
              <a:rPr lang="en-US" sz="1600" dirty="0">
                <a:solidFill>
                  <a:schemeClr val="bg1"/>
                </a:solidFill>
              </a:rPr>
              <a:t> to Bio-Oss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in terms of insertion torque and Implant Stability Quotient</a:t>
            </a:r>
          </a:p>
        </p:txBody>
      </p:sp>
      <p:graphicFrame>
        <p:nvGraphicFramePr>
          <p:cNvPr id="13" name="Gráfico 12">
            <a:extLst>
              <a:ext uri="{FF2B5EF4-FFF2-40B4-BE49-F238E27FC236}">
                <a16:creationId xmlns:a16="http://schemas.microsoft.com/office/drawing/2014/main" id="{ECAB47B4-52A2-459E-8728-533F62A998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5421735"/>
              </p:ext>
            </p:extLst>
          </p:nvPr>
        </p:nvGraphicFramePr>
        <p:xfrm>
          <a:off x="6758146" y="2366137"/>
          <a:ext cx="5205742" cy="3169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50740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F4D37ED-2D5F-4499-8981-901C8A0369E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CH" dirty="0" err="1"/>
              <a:t>Clinical</a:t>
            </a:r>
            <a:r>
              <a:rPr lang="fr-CH" dirty="0"/>
              <a:t> indications</a:t>
            </a:r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A24C6E-2041-415B-B69A-288A6359CE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82820487"/>
      </p:ext>
    </p:extLst>
  </p:cSld>
  <p:clrMapOvr>
    <a:masterClrMapping/>
  </p:clrMapOvr>
  <p:transition spd="slow">
    <p:wip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504A367-7C49-45A5-8E61-4087E84699D7}"/>
              </a:ext>
            </a:extLst>
          </p:cNvPr>
          <p:cNvSpPr/>
          <p:nvPr/>
        </p:nvSpPr>
        <p:spPr>
          <a:xfrm>
            <a:off x="8143224" y="0"/>
            <a:ext cx="4048776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en is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eos</a:t>
            </a:r>
            <a:r>
              <a:rPr kumimoji="0" lang="en-US" sz="3600" b="1" i="0" u="none" strike="noStrike" kern="1200" cap="none" spc="0" normalizeH="0" baseline="3000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M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en-US" sz="4800" b="1" dirty="0" err="1">
                <a:solidFill>
                  <a:prstClr val="white"/>
                </a:solidFill>
                <a:latin typeface="Arial" panose="020B0604020202020204"/>
              </a:rPr>
              <a:t>syntogain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used?</a:t>
            </a:r>
            <a:endParaRPr kumimoji="0" lang="de-CH" sz="4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Grafik 14">
            <a:extLst>
              <a:ext uri="{FF2B5EF4-FFF2-40B4-BE49-F238E27FC236}">
                <a16:creationId xmlns:a16="http://schemas.microsoft.com/office/drawing/2014/main" id="{0389EB7E-4A55-4E16-B40B-021FCF3CB70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952" y="523641"/>
            <a:ext cx="1305452" cy="43171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0FE2679-0B0D-4188-A388-0BBEC3255719}"/>
              </a:ext>
            </a:extLst>
          </p:cNvPr>
          <p:cNvGrpSpPr/>
          <p:nvPr/>
        </p:nvGrpSpPr>
        <p:grpSpPr>
          <a:xfrm>
            <a:off x="347844" y="1488709"/>
            <a:ext cx="1412017" cy="1973052"/>
            <a:chOff x="347844" y="1488709"/>
            <a:chExt cx="1412017" cy="1973052"/>
          </a:xfrm>
        </p:grpSpPr>
        <p:pic>
          <p:nvPicPr>
            <p:cNvPr id="8" name="Picture 7" descr="8465_01.jpg">
              <a:extLst>
                <a:ext uri="{FF2B5EF4-FFF2-40B4-BE49-F238E27FC236}">
                  <a16:creationId xmlns:a16="http://schemas.microsoft.com/office/drawing/2014/main" id="{12CC8295-36D8-4C59-9787-B40A3C48C0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7844" y="1488709"/>
              <a:ext cx="1083165" cy="1488407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52DB8B9-7F75-4D28-92A6-A4A64953241B}"/>
                </a:ext>
              </a:extLst>
            </p:cNvPr>
            <p:cNvSpPr/>
            <p:nvPr/>
          </p:nvSpPr>
          <p:spPr>
            <a:xfrm>
              <a:off x="347844" y="3073963"/>
              <a:ext cx="1412017" cy="3877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mplant placement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E9F96C0-08B0-4D25-973E-E9AF7C877EB5}"/>
              </a:ext>
            </a:extLst>
          </p:cNvPr>
          <p:cNvGrpSpPr/>
          <p:nvPr/>
        </p:nvGrpSpPr>
        <p:grpSpPr>
          <a:xfrm>
            <a:off x="2449273" y="1488709"/>
            <a:ext cx="1518170" cy="1940894"/>
            <a:chOff x="2449273" y="1488709"/>
            <a:chExt cx="1518170" cy="1940894"/>
          </a:xfrm>
        </p:grpSpPr>
        <p:pic>
          <p:nvPicPr>
            <p:cNvPr id="11" name="Picture 10" descr="8414_01.jpg">
              <a:extLst>
                <a:ext uri="{FF2B5EF4-FFF2-40B4-BE49-F238E27FC236}">
                  <a16:creationId xmlns:a16="http://schemas.microsoft.com/office/drawing/2014/main" id="{D664CAE6-77C4-4604-9B99-D89A5C6DCA3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49273" y="1488709"/>
              <a:ext cx="1083164" cy="1488407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CEE1BF9-8706-4617-80A0-2097F545792E}"/>
                </a:ext>
              </a:extLst>
            </p:cNvPr>
            <p:cNvSpPr/>
            <p:nvPr/>
          </p:nvSpPr>
          <p:spPr>
            <a:xfrm>
              <a:off x="2449273" y="3041805"/>
              <a:ext cx="1518170" cy="3877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inus augmentation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F356372-1BB9-48B2-A319-BD3FFE6039CA}"/>
              </a:ext>
            </a:extLst>
          </p:cNvPr>
          <p:cNvGrpSpPr/>
          <p:nvPr/>
        </p:nvGrpSpPr>
        <p:grpSpPr>
          <a:xfrm>
            <a:off x="4550702" y="1488709"/>
            <a:ext cx="1838386" cy="1973052"/>
            <a:chOff x="4550702" y="1488709"/>
            <a:chExt cx="1838386" cy="1973052"/>
          </a:xfrm>
        </p:grpSpPr>
        <p:pic>
          <p:nvPicPr>
            <p:cNvPr id="14" name="Picture 13" descr="8362_00.jpg">
              <a:extLst>
                <a:ext uri="{FF2B5EF4-FFF2-40B4-BE49-F238E27FC236}">
                  <a16:creationId xmlns:a16="http://schemas.microsoft.com/office/drawing/2014/main" id="{D34AEF03-809E-4AEC-8B40-6A9020BD82E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50702" y="1488709"/>
              <a:ext cx="1838386" cy="1488407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17CC415-A953-4417-B5FF-6F528FF9A6CA}"/>
                </a:ext>
              </a:extLst>
            </p:cNvPr>
            <p:cNvSpPr/>
            <p:nvPr/>
          </p:nvSpPr>
          <p:spPr>
            <a:xfrm>
              <a:off x="4550703" y="3073963"/>
              <a:ext cx="1545298" cy="3877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xtraction socket management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0C885CE-DF8F-46C9-9B08-DBB570D00C41}"/>
              </a:ext>
            </a:extLst>
          </p:cNvPr>
          <p:cNvGrpSpPr/>
          <p:nvPr/>
        </p:nvGrpSpPr>
        <p:grpSpPr>
          <a:xfrm>
            <a:off x="2449273" y="3880885"/>
            <a:ext cx="1108789" cy="1532033"/>
            <a:chOff x="2449273" y="3880885"/>
            <a:chExt cx="1108789" cy="1532033"/>
          </a:xfrm>
        </p:grpSpPr>
        <p:pic>
          <p:nvPicPr>
            <p:cNvPr id="17" name="Picture 16" descr="8478_01.jpg">
              <a:extLst>
                <a:ext uri="{FF2B5EF4-FFF2-40B4-BE49-F238E27FC236}">
                  <a16:creationId xmlns:a16="http://schemas.microsoft.com/office/drawing/2014/main" id="{27347833-05E2-4BFD-9D82-F3927E49E16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5201"/>
            <a:stretch>
              <a:fillRect/>
            </a:stretch>
          </p:blipFill>
          <p:spPr>
            <a:xfrm>
              <a:off x="2458237" y="3880885"/>
              <a:ext cx="1099825" cy="1329287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0241513-5FCD-4206-AB93-52E0BB15E921}"/>
                </a:ext>
              </a:extLst>
            </p:cNvPr>
            <p:cNvSpPr/>
            <p:nvPr/>
          </p:nvSpPr>
          <p:spPr>
            <a:xfrm>
              <a:off x="2449273" y="5219019"/>
              <a:ext cx="1025922" cy="1938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picoectom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457DD3B-F4E9-48AA-B19A-29DAE08A1843}"/>
              </a:ext>
            </a:extLst>
          </p:cNvPr>
          <p:cNvGrpSpPr/>
          <p:nvPr/>
        </p:nvGrpSpPr>
        <p:grpSpPr>
          <a:xfrm>
            <a:off x="347844" y="3880885"/>
            <a:ext cx="1430276" cy="1836732"/>
            <a:chOff x="347844" y="3880885"/>
            <a:chExt cx="1430276" cy="1836732"/>
          </a:xfrm>
        </p:grpSpPr>
        <p:pic>
          <p:nvPicPr>
            <p:cNvPr id="20" name="Picture 19" descr="8433_00.jpg">
              <a:extLst>
                <a:ext uri="{FF2B5EF4-FFF2-40B4-BE49-F238E27FC236}">
                  <a16:creationId xmlns:a16="http://schemas.microsoft.com/office/drawing/2014/main" id="{50E8E8FE-414B-4833-BA4D-784B7EB2560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7844" y="3880885"/>
              <a:ext cx="1083165" cy="1329287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9A612DB-7538-4600-8508-D8C2318FDCF9}"/>
                </a:ext>
              </a:extLst>
            </p:cNvPr>
            <p:cNvSpPr/>
            <p:nvPr/>
          </p:nvSpPr>
          <p:spPr>
            <a:xfrm>
              <a:off x="347844" y="5329819"/>
              <a:ext cx="1430276" cy="3877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eriodontal defects</a:t>
              </a: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A36B5586-50AE-4848-A3DF-53823D1271E5}"/>
              </a:ext>
            </a:extLst>
          </p:cNvPr>
          <p:cNvSpPr/>
          <p:nvPr/>
        </p:nvSpPr>
        <p:spPr>
          <a:xfrm>
            <a:off x="4559266" y="3795552"/>
            <a:ext cx="2851627" cy="12080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889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urther indications may include: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rtical &amp; horizontal ridge augmentation  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n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hiscenc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fenestrations around implants</a:t>
            </a:r>
          </a:p>
        </p:txBody>
      </p:sp>
      <p:sp>
        <p:nvSpPr>
          <p:cNvPr id="25" name="Date Placeholder 1">
            <a:extLst>
              <a:ext uri="{FF2B5EF4-FFF2-40B4-BE49-F238E27FC236}">
                <a16:creationId xmlns:a16="http://schemas.microsoft.com/office/drawing/2014/main" id="{277E1879-70F4-4D03-8F11-E67CC7E91B6E}"/>
              </a:ext>
            </a:extLst>
          </p:cNvPr>
          <p:cNvSpPr txBox="1">
            <a:spLocks/>
          </p:cNvSpPr>
          <p:nvPr/>
        </p:nvSpPr>
        <p:spPr>
          <a:xfrm>
            <a:off x="10815075" y="6425409"/>
            <a:ext cx="694899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7A0599-3438-4611-B411-78E8BA190F49}" type="datetime1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12/2022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F0F014CE-6138-43E6-91EA-9F89B9B36B2D}"/>
              </a:ext>
            </a:extLst>
          </p:cNvPr>
          <p:cNvSpPr txBox="1">
            <a:spLocks/>
          </p:cNvSpPr>
          <p:nvPr/>
        </p:nvSpPr>
        <p:spPr>
          <a:xfrm>
            <a:off x="11579352" y="6425409"/>
            <a:ext cx="476250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BAED25-F67B-4389-AF81-088E5999745F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E904BC-8B0D-4C5D-BEBE-CE59C1F50F48}"/>
              </a:ext>
            </a:extLst>
          </p:cNvPr>
          <p:cNvSpPr/>
          <p:nvPr/>
        </p:nvSpPr>
        <p:spPr>
          <a:xfrm>
            <a:off x="1282700" y="6425409"/>
            <a:ext cx="2552700" cy="1938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2328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1A385C62-569D-47C1-A987-72B966226034}"/>
              </a:ext>
            </a:extLst>
          </p:cNvPr>
          <p:cNvSpPr txBox="1">
            <a:spLocks/>
          </p:cNvSpPr>
          <p:nvPr/>
        </p:nvSpPr>
        <p:spPr>
          <a:xfrm>
            <a:off x="609600" y="4212544"/>
            <a:ext cx="10972800" cy="22252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lang="en-US" sz="800" b="0" i="0" u="none" strike="noStrike" kern="1200" cap="none" spc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lang="en-US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lang="en-US" sz="180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MT79827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Nobel Biocare Services AG, 2022 All rights reserved.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claimer: Nobel Biocare, the Nobel Biocare logotype and all other trademarks are, if nothing else is stated or is evident from the context in a certain case, trademarks of Nobel Biocare. Please refer to nobelbiocare.com/trademarks for more information.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 images are not necessarily to scale. All product images are for illustration purposes only and may not be an exact representation of the product.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ease contact the local Nobel Biocare sales office for current product assortment and availability. Disclaimer: For prescription use only. Caution: Federal (United States) law or the law in your jurisdiction may restrict this device to sale by or on the order of a dentist or a physician. See Instructions For Use for full prescribing information, including indications, contraindications, warnings and precautions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sz="1050" dirty="0">
                <a:solidFill>
                  <a:prstClr val="white"/>
                </a:solidFill>
                <a:latin typeface="Arial" panose="020B0604020202020204"/>
              </a:rPr>
              <a:t>MimetikOss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™ has been distributed as creos™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yntogai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ince October 2022. Legal Manufacturer: </a:t>
            </a: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metis Biomaterials S.L., Carrer de Cartagena, 245, 3E, Barcelona 08025, Spain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distributed by Nobel Biocare Services AG.</a:t>
            </a:r>
          </a:p>
        </p:txBody>
      </p:sp>
    </p:spTree>
    <p:extLst>
      <p:ext uri="{BB962C8B-B14F-4D97-AF65-F5344CB8AC3E}">
        <p14:creationId xmlns:p14="http://schemas.microsoft.com/office/powerpoint/2010/main" val="26655855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432CD0F1-BB03-4D62-AD63-DAF97DF41E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98" r="5899"/>
          <a:stretch/>
        </p:blipFill>
        <p:spPr>
          <a:xfrm>
            <a:off x="8273599" y="0"/>
            <a:ext cx="3918401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68E374-C237-4DEF-8EC9-2E0E2B9F9DB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B31A2D5-E60C-4BB0-A0CC-A5FB2C716A40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032D5E-B9D2-4A6C-9931-8BC3CFF9A8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CD1C391-2ECB-4E93-9348-D3E518A26B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555" y="196406"/>
            <a:ext cx="7717128" cy="962955"/>
          </a:xfrm>
        </p:spPr>
        <p:txBody>
          <a:bodyPr/>
          <a:lstStyle/>
          <a:p>
            <a:r>
              <a:rPr lang="fr-CH" dirty="0"/>
              <a:t>Four </a:t>
            </a:r>
            <a:r>
              <a:rPr lang="fr-CH" dirty="0" err="1"/>
              <a:t>things</a:t>
            </a:r>
            <a:r>
              <a:rPr lang="fr-CH" dirty="0"/>
              <a:t> </a:t>
            </a:r>
            <a:r>
              <a:rPr lang="fr-CH" dirty="0" err="1"/>
              <a:t>than</a:t>
            </a:r>
            <a:r>
              <a:rPr lang="fr-CH" dirty="0"/>
              <a:t> </a:t>
            </a:r>
            <a:r>
              <a:rPr lang="fr-CH" dirty="0" err="1"/>
              <a:t>clinicians</a:t>
            </a:r>
            <a:r>
              <a:rPr lang="fr-CH" dirty="0"/>
              <a:t> </a:t>
            </a:r>
            <a:r>
              <a:rPr lang="fr-CH" dirty="0" err="1"/>
              <a:t>expect</a:t>
            </a:r>
            <a:br>
              <a:rPr lang="fr-CH" dirty="0"/>
            </a:br>
            <a:r>
              <a:rPr lang="fr-CH" dirty="0" err="1"/>
              <a:t>from</a:t>
            </a:r>
            <a:r>
              <a:rPr lang="fr-CH" dirty="0"/>
              <a:t> </a:t>
            </a:r>
            <a:r>
              <a:rPr lang="fr-CH" dirty="0" err="1"/>
              <a:t>regenerative</a:t>
            </a:r>
            <a:r>
              <a:rPr lang="fr-CH" dirty="0"/>
              <a:t> </a:t>
            </a:r>
            <a:r>
              <a:rPr lang="fr-CH" dirty="0" err="1"/>
              <a:t>products</a:t>
            </a:r>
            <a:endParaRPr lang="en-US" dirty="0"/>
          </a:p>
        </p:txBody>
      </p:sp>
      <p:pic>
        <p:nvPicPr>
          <p:cNvPr id="8" name="Grafik 22">
            <a:extLst>
              <a:ext uri="{FF2B5EF4-FFF2-40B4-BE49-F238E27FC236}">
                <a16:creationId xmlns:a16="http://schemas.microsoft.com/office/drawing/2014/main" id="{97B216DF-A452-443F-B037-A17B34A44D9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952" y="523641"/>
            <a:ext cx="1305452" cy="431712"/>
          </a:xfrm>
          <a:prstGeom prst="rect">
            <a:avLst/>
          </a:prstGeom>
        </p:spPr>
      </p:pic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20991E5D-0A3A-4204-B78B-39A923DDD9C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0336240"/>
              </p:ext>
            </p:extLst>
          </p:nvPr>
        </p:nvGraphicFramePr>
        <p:xfrm>
          <a:off x="1377087" y="2215892"/>
          <a:ext cx="4810598" cy="33250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0" name="Rechteck 75">
            <a:extLst>
              <a:ext uri="{FF2B5EF4-FFF2-40B4-BE49-F238E27FC236}">
                <a16:creationId xmlns:a16="http://schemas.microsoft.com/office/drawing/2014/main" id="{862F39F3-313D-4BED-8DB7-056AA9AC45FC}"/>
              </a:ext>
            </a:extLst>
          </p:cNvPr>
          <p:cNvSpPr/>
          <p:nvPr/>
        </p:nvSpPr>
        <p:spPr>
          <a:xfrm>
            <a:off x="143655" y="3094568"/>
            <a:ext cx="2052830" cy="15677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2160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50000"/>
              <a:tabLst>
                <a:tab pos="216000" algn="l"/>
              </a:tabLst>
              <a:defRPr/>
            </a:pPr>
            <a:r>
              <a:rPr lang="en-US" sz="1300" b="1" kern="0" dirty="0">
                <a:solidFill>
                  <a:sysClr val="windowText" lastClr="000000"/>
                </a:solidFill>
                <a:latin typeface="+mj-lt"/>
              </a:rPr>
              <a:t>Peace of mind</a:t>
            </a:r>
            <a:endParaRPr lang="en-US" sz="1300" b="1" kern="0" dirty="0">
              <a:solidFill>
                <a:srgbClr val="000000"/>
              </a:solidFill>
              <a:latin typeface="+mj-lt"/>
              <a:ea typeface="Geneva" charset="-128"/>
              <a:cs typeface="Arial"/>
            </a:endParaRPr>
          </a:p>
          <a:p>
            <a:pPr defTabSz="2160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50000"/>
              <a:tabLst>
                <a:tab pos="216000" algn="l"/>
              </a:tabLst>
              <a:defRPr/>
            </a:pPr>
            <a:r>
              <a:rPr lang="en-US" sz="1300" b="1" kern="0" dirty="0">
                <a:solidFill>
                  <a:srgbClr val="000000"/>
                </a:solidFill>
                <a:latin typeface="+mj-lt"/>
                <a:ea typeface="Geneva" charset="-128"/>
                <a:cs typeface="Arial"/>
              </a:rPr>
              <a:t>Clinical data</a:t>
            </a:r>
          </a:p>
          <a:p>
            <a:pPr defTabSz="2160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50000"/>
              <a:tabLst>
                <a:tab pos="216000" algn="l"/>
              </a:tabLst>
              <a:defRPr/>
            </a:pPr>
            <a:r>
              <a:rPr lang="en-US" sz="1300" b="1" kern="0" dirty="0">
                <a:solidFill>
                  <a:srgbClr val="000000"/>
                </a:solidFill>
                <a:latin typeface="+mj-lt"/>
                <a:ea typeface="Geneva" charset="-128"/>
                <a:cs typeface="Arial"/>
              </a:rPr>
              <a:t>Product quality</a:t>
            </a:r>
          </a:p>
          <a:p>
            <a:pPr lvl="0" defTabSz="2160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50000"/>
              <a:tabLst>
                <a:tab pos="216000" algn="l"/>
              </a:tabLst>
              <a:defRPr/>
            </a:pPr>
            <a:r>
              <a:rPr lang="en-US" sz="1300" b="1" kern="0" dirty="0">
                <a:solidFill>
                  <a:srgbClr val="000000"/>
                </a:solidFill>
                <a:latin typeface="+mj-lt"/>
                <a:ea typeface="Geneva" charset="-128"/>
                <a:cs typeface="Arial"/>
              </a:rPr>
              <a:t>Predictable results</a:t>
            </a:r>
          </a:p>
          <a:p>
            <a:pPr defTabSz="2160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50000"/>
              <a:tabLst>
                <a:tab pos="216000" algn="l"/>
              </a:tabLst>
              <a:defRPr/>
            </a:pPr>
            <a:r>
              <a:rPr lang="en-US" sz="1300" b="1" kern="0" dirty="0">
                <a:solidFill>
                  <a:sysClr val="windowText" lastClr="000000"/>
                </a:solidFill>
                <a:latin typeface="+mj-lt"/>
              </a:rPr>
              <a:t>Implant success</a:t>
            </a:r>
          </a:p>
        </p:txBody>
      </p:sp>
      <p:sp>
        <p:nvSpPr>
          <p:cNvPr id="11" name="Rechteck 128">
            <a:extLst>
              <a:ext uri="{FF2B5EF4-FFF2-40B4-BE49-F238E27FC236}">
                <a16:creationId xmlns:a16="http://schemas.microsoft.com/office/drawing/2014/main" id="{4724DA98-20E6-4DD8-A35D-C04654B3E67E}"/>
              </a:ext>
            </a:extLst>
          </p:cNvPr>
          <p:cNvSpPr/>
          <p:nvPr/>
        </p:nvSpPr>
        <p:spPr>
          <a:xfrm>
            <a:off x="4498131" y="1443898"/>
            <a:ext cx="3667969" cy="1255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2160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50000"/>
              <a:tabLst>
                <a:tab pos="216000" algn="l"/>
              </a:tabLst>
            </a:pPr>
            <a:r>
              <a:rPr lang="en-US" sz="1300" b="1" kern="0" dirty="0">
                <a:solidFill>
                  <a:srgbClr val="000000"/>
                </a:solidFill>
                <a:latin typeface="+mj-lt"/>
                <a:ea typeface="Geneva" charset="-128"/>
                <a:cs typeface="Arial"/>
              </a:rPr>
              <a:t>Easy handling</a:t>
            </a:r>
          </a:p>
          <a:p>
            <a:pPr defTabSz="2160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50000"/>
              <a:tabLst>
                <a:tab pos="216000" algn="l"/>
              </a:tabLst>
            </a:pPr>
            <a:r>
              <a:rPr lang="en-US" sz="1300" b="1" kern="0" dirty="0">
                <a:solidFill>
                  <a:srgbClr val="000000"/>
                </a:solidFill>
                <a:latin typeface="+mj-lt"/>
                <a:ea typeface="Geneva" charset="-128"/>
                <a:cs typeface="Arial"/>
              </a:rPr>
              <a:t>Limited choice of products</a:t>
            </a:r>
          </a:p>
          <a:p>
            <a:pPr defTabSz="2160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50000"/>
              <a:tabLst>
                <a:tab pos="216000" algn="l"/>
              </a:tabLst>
            </a:pPr>
            <a:r>
              <a:rPr lang="en-US" sz="1300" b="1" kern="0" dirty="0">
                <a:solidFill>
                  <a:srgbClr val="000000"/>
                </a:solidFill>
                <a:latin typeface="+mj-lt"/>
                <a:ea typeface="Geneva" charset="-128"/>
                <a:cs typeface="Arial"/>
              </a:rPr>
              <a:t>Quality customer service</a:t>
            </a:r>
          </a:p>
          <a:p>
            <a:pPr defTabSz="2160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50000"/>
              <a:tabLst>
                <a:tab pos="216000" algn="l"/>
              </a:tabLst>
            </a:pPr>
            <a:r>
              <a:rPr lang="en-US" sz="1300" b="1" kern="0" dirty="0">
                <a:solidFill>
                  <a:srgbClr val="000000"/>
                </a:solidFill>
                <a:latin typeface="+mj-lt"/>
                <a:ea typeface="Geneva" charset="-128"/>
                <a:cs typeface="Arial"/>
              </a:rPr>
              <a:t>Availability of Nobel Biocare representative</a:t>
            </a:r>
          </a:p>
        </p:txBody>
      </p:sp>
      <p:sp>
        <p:nvSpPr>
          <p:cNvPr id="12" name="Rechteck 128">
            <a:extLst>
              <a:ext uri="{FF2B5EF4-FFF2-40B4-BE49-F238E27FC236}">
                <a16:creationId xmlns:a16="http://schemas.microsoft.com/office/drawing/2014/main" id="{CF700F6F-A771-4038-B999-38B83DC90A7F}"/>
              </a:ext>
            </a:extLst>
          </p:cNvPr>
          <p:cNvSpPr/>
          <p:nvPr/>
        </p:nvSpPr>
        <p:spPr>
          <a:xfrm>
            <a:off x="5480302" y="3700211"/>
            <a:ext cx="2335588" cy="3674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2160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50000"/>
              <a:tabLst>
                <a:tab pos="216000" algn="l"/>
              </a:tabLst>
            </a:pPr>
            <a:r>
              <a:rPr lang="en-US" sz="1300" b="1" kern="0" dirty="0">
                <a:solidFill>
                  <a:srgbClr val="000000"/>
                </a:solidFill>
                <a:latin typeface="+mj-lt"/>
                <a:ea typeface="Geneva" charset="-128"/>
                <a:cs typeface="Arial"/>
              </a:rPr>
              <a:t>Good value for money</a:t>
            </a:r>
          </a:p>
        </p:txBody>
      </p:sp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CB73E4CF-DFE9-4918-B5FD-A4A84611BF79}"/>
              </a:ext>
            </a:extLst>
          </p:cNvPr>
          <p:cNvSpPr txBox="1">
            <a:spLocks/>
          </p:cNvSpPr>
          <p:nvPr/>
        </p:nvSpPr>
        <p:spPr>
          <a:xfrm>
            <a:off x="10815075" y="6425409"/>
            <a:ext cx="694899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67A0599-3438-4611-B411-78E8BA190F49}" type="datetime1">
              <a:rPr lang="en-US" sz="700" smtClean="0"/>
              <a:pPr algn="r"/>
              <a:t>5/12/2022</a:t>
            </a:fld>
            <a:endParaRPr lang="en-US" sz="700" dirty="0"/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C226BF95-B8A4-4BFD-8869-5BBAF879E84E}"/>
              </a:ext>
            </a:extLst>
          </p:cNvPr>
          <p:cNvSpPr txBox="1">
            <a:spLocks/>
          </p:cNvSpPr>
          <p:nvPr/>
        </p:nvSpPr>
        <p:spPr>
          <a:xfrm>
            <a:off x="11579352" y="6425409"/>
            <a:ext cx="476250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8BAED25-F67B-4389-AF81-088E5999745F}" type="slidenum">
              <a:rPr lang="en-US" sz="700" smtClean="0"/>
              <a:pPr algn="r"/>
              <a:t>3</a:t>
            </a:fld>
            <a:endParaRPr lang="en-US" sz="700"/>
          </a:p>
        </p:txBody>
      </p:sp>
      <p:sp>
        <p:nvSpPr>
          <p:cNvPr id="15" name="Rechteck 128">
            <a:extLst>
              <a:ext uri="{FF2B5EF4-FFF2-40B4-BE49-F238E27FC236}">
                <a16:creationId xmlns:a16="http://schemas.microsoft.com/office/drawing/2014/main" id="{93C5B8EF-F785-4FD1-88C4-F36447A8203E}"/>
              </a:ext>
            </a:extLst>
          </p:cNvPr>
          <p:cNvSpPr/>
          <p:nvPr/>
        </p:nvSpPr>
        <p:spPr>
          <a:xfrm>
            <a:off x="2646827" y="5505358"/>
            <a:ext cx="2271118" cy="967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160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50000"/>
              <a:tabLst>
                <a:tab pos="216000" algn="l"/>
              </a:tabLst>
            </a:pPr>
            <a:r>
              <a:rPr lang="en-US" sz="1300" b="1" kern="0" dirty="0">
                <a:solidFill>
                  <a:srgbClr val="000000"/>
                </a:solidFill>
                <a:latin typeface="+mj-lt"/>
                <a:ea typeface="Geneva" charset="-128"/>
                <a:cs typeface="Arial"/>
              </a:rPr>
              <a:t>Training &amp; Education</a:t>
            </a:r>
          </a:p>
          <a:p>
            <a:pPr algn="ctr" defTabSz="2160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50000"/>
              <a:tabLst>
                <a:tab pos="216000" algn="l"/>
              </a:tabLst>
            </a:pPr>
            <a:r>
              <a:rPr lang="en-US" sz="1300" b="1" kern="0" dirty="0">
                <a:solidFill>
                  <a:srgbClr val="000000"/>
                </a:solidFill>
                <a:latin typeface="+mj-lt"/>
                <a:ea typeface="Geneva" charset="-128"/>
                <a:cs typeface="Arial"/>
              </a:rPr>
              <a:t>Innovations</a:t>
            </a:r>
          </a:p>
          <a:p>
            <a:pPr algn="ctr" defTabSz="2160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50000"/>
              <a:tabLst>
                <a:tab pos="216000" algn="l"/>
              </a:tabLst>
            </a:pPr>
            <a:r>
              <a:rPr lang="en-US" sz="1300" b="1" kern="0" dirty="0">
                <a:solidFill>
                  <a:srgbClr val="000000"/>
                </a:solidFill>
                <a:latin typeface="+mj-lt"/>
                <a:ea typeface="Geneva" charset="-128"/>
                <a:cs typeface="Arial"/>
              </a:rPr>
              <a:t>Efficiency</a:t>
            </a:r>
          </a:p>
        </p:txBody>
      </p:sp>
    </p:spTree>
    <p:extLst>
      <p:ext uri="{BB962C8B-B14F-4D97-AF65-F5344CB8AC3E}">
        <p14:creationId xmlns:p14="http://schemas.microsoft.com/office/powerpoint/2010/main" val="2992822340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erson wearing a white coat&#10;&#10;Description automatically generated with low confidence">
            <a:extLst>
              <a:ext uri="{FF2B5EF4-FFF2-40B4-BE49-F238E27FC236}">
                <a16:creationId xmlns:a16="http://schemas.microsoft.com/office/drawing/2014/main" id="{B11E8D69-E3D8-4DF3-9061-ADE2B159349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447" b="28294"/>
          <a:stretch/>
        </p:blipFill>
        <p:spPr>
          <a:xfrm flipH="1">
            <a:off x="-1" y="0"/>
            <a:ext cx="12192001" cy="6893655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C21E386-BF3E-4649-8040-18976938FA3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293FDC5-A627-4C32-994A-4D25498AC2AE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6779A4-CF75-42AE-864D-25C2C177D17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4</a:t>
            </a:fld>
            <a:endParaRPr lang="en-US" noProof="0"/>
          </a:p>
        </p:txBody>
      </p:sp>
      <p:pic>
        <p:nvPicPr>
          <p:cNvPr id="9" name="Grafik 7">
            <a:extLst>
              <a:ext uri="{FF2B5EF4-FFF2-40B4-BE49-F238E27FC236}">
                <a16:creationId xmlns:a16="http://schemas.microsoft.com/office/drawing/2014/main" id="{37249B34-7035-4751-B090-B0C755CD7D5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952" y="523335"/>
            <a:ext cx="1305452" cy="43232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063BD5E-0CCD-4C5B-AB23-961F1F1C9EFD}"/>
              </a:ext>
            </a:extLst>
          </p:cNvPr>
          <p:cNvSpPr txBox="1"/>
          <p:nvPr/>
        </p:nvSpPr>
        <p:spPr>
          <a:xfrm>
            <a:off x="170725" y="2551837"/>
            <a:ext cx="799620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latin typeface="Mark Pro Medium" panose="020B0604020201010104" pitchFamily="34" charset="0"/>
              </a:rPr>
              <a:t>creos™ </a:t>
            </a:r>
            <a:r>
              <a:rPr lang="en-US" sz="3600" dirty="0" err="1">
                <a:latin typeface="Mark Pro Medium" panose="020B0604020201010104" pitchFamily="34" charset="0"/>
              </a:rPr>
              <a:t>syntogain</a:t>
            </a:r>
            <a:r>
              <a:rPr lang="en-US" sz="3600" dirty="0">
                <a:latin typeface="Mark Pro Medium" panose="020B0604020201010104" pitchFamily="34" charset="0"/>
              </a:rPr>
              <a:t> –</a:t>
            </a:r>
          </a:p>
          <a:p>
            <a:r>
              <a:rPr lang="en-US" sz="3600" dirty="0">
                <a:latin typeface="Mark Pro Medium" panose="020B0604020201010104" pitchFamily="34" charset="0"/>
              </a:rPr>
              <a:t>Biomimetic bone graft substitute for efficient regeneration</a:t>
            </a:r>
            <a:endParaRPr lang="de-CH" sz="3600" dirty="0">
              <a:latin typeface="Mark Pro Medium" panose="020B06040202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0394249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1F8A3EC-5C65-438E-B3FD-E2AF7C1DCE7B}"/>
              </a:ext>
            </a:extLst>
          </p:cNvPr>
          <p:cNvSpPr/>
          <p:nvPr/>
        </p:nvSpPr>
        <p:spPr>
          <a:xfrm>
            <a:off x="3669174" y="0"/>
            <a:ext cx="8522825" cy="6858000"/>
          </a:xfrm>
          <a:prstGeom prst="rect">
            <a:avLst/>
          </a:prstGeom>
          <a:solidFill>
            <a:srgbClr val="0073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CH" sz="14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087C43-54DA-4125-B9E5-EDA38814A239}"/>
              </a:ext>
            </a:extLst>
          </p:cNvPr>
          <p:cNvSpPr/>
          <p:nvPr/>
        </p:nvSpPr>
        <p:spPr>
          <a:xfrm>
            <a:off x="4322054" y="181254"/>
            <a:ext cx="5797750" cy="1123289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79388"/>
            <a:r>
              <a:rPr lang="en-US" sz="1600" b="1" dirty="0"/>
              <a:t>Advanced manufacturing process</a:t>
            </a:r>
          </a:p>
          <a:p>
            <a:pPr marL="1169988" indent="-285750">
              <a:buFont typeface="Wingdings" panose="05000000000000000000" pitchFamily="2" charset="2"/>
              <a:buChar char="§"/>
            </a:pPr>
            <a:r>
              <a:rPr lang="en-US" sz="1600" b="1" dirty="0"/>
              <a:t>Hydrothermal</a:t>
            </a:r>
          </a:p>
          <a:p>
            <a:pPr marL="1169988" indent="-285750">
              <a:buFont typeface="Wingdings" panose="05000000000000000000" pitchFamily="2" charset="2"/>
              <a:buChar char="§"/>
            </a:pPr>
            <a:r>
              <a:rPr lang="en-US" sz="1600" b="1" dirty="0"/>
              <a:t>Low temperature (different from others)</a:t>
            </a: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BE1EDAC-1F0C-4B9C-BEC6-A3ADEA2380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BE1EDAC-1F0C-4B9C-BEC6-A3ADEA2380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ED587AF-DD48-4337-BA1A-F9692B6956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405" y="127999"/>
            <a:ext cx="3600000" cy="5616574"/>
          </a:xfrm>
        </p:spPr>
        <p:txBody>
          <a:bodyPr/>
          <a:lstStyle/>
          <a:p>
            <a:r>
              <a:rPr lang="en-US" sz="4000" dirty="0"/>
              <a:t>creos </a:t>
            </a:r>
            <a:r>
              <a:rPr lang="en-US" sz="4000" dirty="0" err="1"/>
              <a:t>syntogain</a:t>
            </a:r>
            <a:r>
              <a:rPr lang="en-US" sz="4000" dirty="0"/>
              <a:t> </a:t>
            </a:r>
            <a:r>
              <a:rPr lang="en-US" sz="4000" dirty="0">
                <a:sym typeface="Symbol" panose="05050102010706020507" pitchFamily="18" charset="2"/>
              </a:rPr>
              <a:t></a:t>
            </a:r>
            <a:r>
              <a:rPr lang="en-US" sz="4000" dirty="0"/>
              <a:t> Features &amp; benefits</a:t>
            </a:r>
          </a:p>
          <a:p>
            <a:endParaRPr lang="en-US" dirty="0"/>
          </a:p>
        </p:txBody>
      </p:sp>
      <p:sp>
        <p:nvSpPr>
          <p:cNvPr id="22" name="Date Placeholder 1">
            <a:extLst>
              <a:ext uri="{FF2B5EF4-FFF2-40B4-BE49-F238E27FC236}">
                <a16:creationId xmlns:a16="http://schemas.microsoft.com/office/drawing/2014/main" id="{F787ECE6-80F6-4131-86B9-CFD2090C5824}"/>
              </a:ext>
            </a:extLst>
          </p:cNvPr>
          <p:cNvSpPr txBox="1">
            <a:spLocks/>
          </p:cNvSpPr>
          <p:nvPr/>
        </p:nvSpPr>
        <p:spPr>
          <a:xfrm>
            <a:off x="10815075" y="6425409"/>
            <a:ext cx="694899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67A0599-3438-4611-B411-78E8BA190F49}" type="datetime1">
              <a:rPr lang="en-US" sz="700" smtClean="0"/>
              <a:pPr algn="r"/>
              <a:t>5/12/2022</a:t>
            </a:fld>
            <a:endParaRPr lang="en-US" sz="700" dirty="0"/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265F2F1B-DE10-4E49-A3DA-803948B70C83}"/>
              </a:ext>
            </a:extLst>
          </p:cNvPr>
          <p:cNvSpPr txBox="1">
            <a:spLocks/>
          </p:cNvSpPr>
          <p:nvPr/>
        </p:nvSpPr>
        <p:spPr>
          <a:xfrm>
            <a:off x="11579352" y="6425409"/>
            <a:ext cx="476250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8BAED25-F67B-4389-AF81-088E5999745F}" type="slidenum">
              <a:rPr lang="en-US" sz="700" smtClean="0"/>
              <a:pPr algn="r"/>
              <a:t>5</a:t>
            </a:fld>
            <a:endParaRPr lang="en-US" sz="700"/>
          </a:p>
        </p:txBody>
      </p:sp>
      <p:pic>
        <p:nvPicPr>
          <p:cNvPr id="5" name="Graphic 4" descr="Factory with solid fill">
            <a:extLst>
              <a:ext uri="{FF2B5EF4-FFF2-40B4-BE49-F238E27FC236}">
                <a16:creationId xmlns:a16="http://schemas.microsoft.com/office/drawing/2014/main" id="{827CF6E7-91FF-434E-A07A-AC6A65F0244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78740" y="614161"/>
            <a:ext cx="516036" cy="516036"/>
          </a:xfrm>
          <a:prstGeom prst="rect">
            <a:avLst/>
          </a:prstGeom>
        </p:spPr>
      </p:pic>
      <p:sp>
        <p:nvSpPr>
          <p:cNvPr id="6" name="Arrow: Down 5">
            <a:extLst>
              <a:ext uri="{FF2B5EF4-FFF2-40B4-BE49-F238E27FC236}">
                <a16:creationId xmlns:a16="http://schemas.microsoft.com/office/drawing/2014/main" id="{9CA46520-641D-4E76-B073-3B82FA971C3A}"/>
              </a:ext>
            </a:extLst>
          </p:cNvPr>
          <p:cNvSpPr/>
          <p:nvPr/>
        </p:nvSpPr>
        <p:spPr>
          <a:xfrm>
            <a:off x="6885397" y="1635290"/>
            <a:ext cx="671063" cy="499872"/>
          </a:xfrm>
          <a:prstGeom prst="down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39" name="Grafik 14">
            <a:extLst>
              <a:ext uri="{FF2B5EF4-FFF2-40B4-BE49-F238E27FC236}">
                <a16:creationId xmlns:a16="http://schemas.microsoft.com/office/drawing/2014/main" id="{4E1BA0D2-A765-473E-811A-46A7B360325B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952" y="523641"/>
            <a:ext cx="1305452" cy="431712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A47F8C68-C19C-42E6-9D35-F88E3696B0BB}"/>
              </a:ext>
            </a:extLst>
          </p:cNvPr>
          <p:cNvSpPr/>
          <p:nvPr/>
        </p:nvSpPr>
        <p:spPr>
          <a:xfrm>
            <a:off x="4328160" y="2465909"/>
            <a:ext cx="5791644" cy="951025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Unique composition of the material</a:t>
            </a:r>
            <a:endParaRPr lang="en-US" sz="1400" dirty="0"/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sz="1400" dirty="0"/>
              <a:t>80 % of Calcium Deficient Hydroxyapatite (CDHA)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sz="1400" dirty="0"/>
              <a:t>20% of </a:t>
            </a:r>
            <a:r>
              <a:rPr lang="en-US" sz="1400" dirty="0">
                <a:sym typeface="Symbol" panose="05050102010706020507" pitchFamily="18" charset="2"/>
              </a:rPr>
              <a:t>-</a:t>
            </a:r>
            <a:r>
              <a:rPr lang="en-US" sz="1400" dirty="0"/>
              <a:t>TCP (beta-tricalcium phosphate)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sz="1400" b="1" dirty="0"/>
              <a:t>Biomimetic:</a:t>
            </a:r>
            <a:r>
              <a:rPr lang="en-US" sz="1400" dirty="0"/>
              <a:t> mimics human bone (made of CDHA)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B24D591-A195-481E-A339-143CCC57D78E}"/>
              </a:ext>
            </a:extLst>
          </p:cNvPr>
          <p:cNvSpPr/>
          <p:nvPr/>
        </p:nvSpPr>
        <p:spPr>
          <a:xfrm>
            <a:off x="4086690" y="2112391"/>
            <a:ext cx="460862" cy="431583"/>
          </a:xfrm>
          <a:prstGeom prst="ellipse">
            <a:avLst/>
          </a:prstGeom>
          <a:solidFill>
            <a:srgbClr val="7AE1B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>
                <a:solidFill>
                  <a:schemeClr val="tx1"/>
                </a:solidFill>
              </a:rPr>
              <a:t>1</a:t>
            </a:r>
            <a:endParaRPr lang="en-US" b="1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67EBD85-CAB8-4EAE-9F43-0976B9B790D1}"/>
              </a:ext>
            </a:extLst>
          </p:cNvPr>
          <p:cNvSpPr/>
          <p:nvPr/>
        </p:nvSpPr>
        <p:spPr>
          <a:xfrm>
            <a:off x="4328160" y="3918534"/>
            <a:ext cx="5791644" cy="925666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Microscopic surface of the material is made of nanocrystals: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sz="1400" dirty="0"/>
              <a:t>High specific surface area: enhances the cells to attach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sz="1400" dirty="0"/>
              <a:t>High microporosity: enhancing bone ingrowth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91F97B2E-BD03-445E-B664-1E7DCE8650B9}"/>
              </a:ext>
            </a:extLst>
          </p:cNvPr>
          <p:cNvSpPr/>
          <p:nvPr/>
        </p:nvSpPr>
        <p:spPr>
          <a:xfrm>
            <a:off x="4132809" y="3625238"/>
            <a:ext cx="460862" cy="431583"/>
          </a:xfrm>
          <a:prstGeom prst="ellipse">
            <a:avLst/>
          </a:prstGeom>
          <a:solidFill>
            <a:srgbClr val="7AE1B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>
                <a:solidFill>
                  <a:schemeClr val="tx1"/>
                </a:solidFill>
              </a:rPr>
              <a:t>2</a:t>
            </a:r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A9729242-0D6C-4F16-9518-F33B8363B8B2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6076" y="3920800"/>
            <a:ext cx="1565620" cy="921133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567673BE-7EC9-4A78-97ED-5EEA94EEDB06}"/>
              </a:ext>
            </a:extLst>
          </p:cNvPr>
          <p:cNvSpPr/>
          <p:nvPr/>
        </p:nvSpPr>
        <p:spPr>
          <a:xfrm>
            <a:off x="4328160" y="5352654"/>
            <a:ext cx="5791644" cy="783838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The bone is stable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sz="1400" dirty="0"/>
              <a:t>Maintains the volume of the defect</a:t>
            </a:r>
            <a:endParaRPr lang="de-CH" sz="1400" dirty="0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B6EBCD3-81FD-4E39-9CE5-BA574A83D980}"/>
              </a:ext>
            </a:extLst>
          </p:cNvPr>
          <p:cNvSpPr/>
          <p:nvPr/>
        </p:nvSpPr>
        <p:spPr>
          <a:xfrm>
            <a:off x="4105505" y="5090705"/>
            <a:ext cx="460862" cy="431583"/>
          </a:xfrm>
          <a:prstGeom prst="ellipse">
            <a:avLst/>
          </a:prstGeom>
          <a:solidFill>
            <a:srgbClr val="7AE1B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>
                <a:solidFill>
                  <a:schemeClr val="tx1"/>
                </a:solidFill>
              </a:rPr>
              <a:t>3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85545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1F8A3EC-5C65-438E-B3FD-E2AF7C1DCE7B}"/>
              </a:ext>
            </a:extLst>
          </p:cNvPr>
          <p:cNvSpPr/>
          <p:nvPr/>
        </p:nvSpPr>
        <p:spPr>
          <a:xfrm>
            <a:off x="3669174" y="0"/>
            <a:ext cx="8522825" cy="6858000"/>
          </a:xfrm>
          <a:prstGeom prst="rect">
            <a:avLst/>
          </a:prstGeom>
          <a:solidFill>
            <a:srgbClr val="0073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CH" sz="1600" dirty="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BE1EDAC-1F0C-4B9C-BEC6-A3ADEA2380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BE1EDAC-1F0C-4B9C-BEC6-A3ADEA2380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ED587AF-DD48-4337-BA1A-F9692B6956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1900" y="111245"/>
            <a:ext cx="3600000" cy="5616574"/>
          </a:xfrm>
        </p:spPr>
        <p:txBody>
          <a:bodyPr/>
          <a:lstStyle/>
          <a:p>
            <a:r>
              <a:rPr lang="en-US" sz="4000" dirty="0"/>
              <a:t>creos </a:t>
            </a:r>
            <a:r>
              <a:rPr lang="en-US" sz="4000" dirty="0" err="1"/>
              <a:t>syntogain</a:t>
            </a:r>
            <a:r>
              <a:rPr lang="en-US" sz="4000" dirty="0"/>
              <a:t> </a:t>
            </a:r>
            <a:r>
              <a:rPr lang="en-US" sz="4000" dirty="0">
                <a:sym typeface="Symbol" panose="05050102010706020507" pitchFamily="18" charset="2"/>
              </a:rPr>
              <a:t></a:t>
            </a:r>
            <a:r>
              <a:rPr lang="en-US" sz="4000" dirty="0"/>
              <a:t> Features &amp; benefits</a:t>
            </a:r>
          </a:p>
          <a:p>
            <a:endParaRPr lang="en-US" sz="2000" b="0" dirty="0"/>
          </a:p>
        </p:txBody>
      </p:sp>
      <p:sp>
        <p:nvSpPr>
          <p:cNvPr id="22" name="Date Placeholder 1">
            <a:extLst>
              <a:ext uri="{FF2B5EF4-FFF2-40B4-BE49-F238E27FC236}">
                <a16:creationId xmlns:a16="http://schemas.microsoft.com/office/drawing/2014/main" id="{F787ECE6-80F6-4131-86B9-CFD2090C5824}"/>
              </a:ext>
            </a:extLst>
          </p:cNvPr>
          <p:cNvSpPr txBox="1">
            <a:spLocks/>
          </p:cNvSpPr>
          <p:nvPr/>
        </p:nvSpPr>
        <p:spPr>
          <a:xfrm>
            <a:off x="10815075" y="6425409"/>
            <a:ext cx="694899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67A0599-3438-4611-B411-78E8BA190F49}" type="datetime1">
              <a:rPr lang="en-US" sz="700" smtClean="0"/>
              <a:pPr algn="r"/>
              <a:t>5/12/2022</a:t>
            </a:fld>
            <a:endParaRPr lang="en-US" sz="700"/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265F2F1B-DE10-4E49-A3DA-803948B70C83}"/>
              </a:ext>
            </a:extLst>
          </p:cNvPr>
          <p:cNvSpPr txBox="1">
            <a:spLocks/>
          </p:cNvSpPr>
          <p:nvPr/>
        </p:nvSpPr>
        <p:spPr>
          <a:xfrm>
            <a:off x="11579352" y="6425409"/>
            <a:ext cx="476250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8BAED25-F67B-4389-AF81-088E5999745F}" type="slidenum">
              <a:rPr lang="en-US" sz="700" smtClean="0"/>
              <a:pPr algn="r"/>
              <a:t>6</a:t>
            </a:fld>
            <a:endParaRPr lang="en-US" sz="7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A71ED3E-74F5-422B-9F69-FE4FC213037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18" y="1312908"/>
            <a:ext cx="2678489" cy="199701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D2348C8-FD7A-44E3-B20E-B206723DDB75}"/>
              </a:ext>
            </a:extLst>
          </p:cNvPr>
          <p:cNvSpPr txBox="1"/>
          <p:nvPr/>
        </p:nvSpPr>
        <p:spPr>
          <a:xfrm>
            <a:off x="9203885" y="5903472"/>
            <a:ext cx="27562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Average quantity of absorbed water by 3 cc of BGS after </a:t>
            </a:r>
            <a:r>
              <a:rPr lang="en-US" sz="1100" dirty="0" err="1">
                <a:solidFill>
                  <a:schemeClr val="bg1"/>
                </a:solidFill>
              </a:rPr>
              <a:t>stabilisation</a:t>
            </a:r>
            <a:endParaRPr lang="de-CH" sz="1100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D5C631-D95F-43D4-8514-3DF1A26EC64B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2095" y="3667477"/>
            <a:ext cx="2357840" cy="221107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5505AE3-B189-4EDF-8484-FCBD4AF4FAD7}"/>
              </a:ext>
            </a:extLst>
          </p:cNvPr>
          <p:cNvSpPr txBox="1"/>
          <p:nvPr/>
        </p:nvSpPr>
        <p:spPr>
          <a:xfrm>
            <a:off x="3831900" y="368300"/>
            <a:ext cx="5054195" cy="5956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In addition:</a:t>
            </a:r>
          </a:p>
          <a:p>
            <a:endParaRPr lang="en-US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  <a:tabLst>
                <a:tab pos="5651500" algn="l"/>
              </a:tabLst>
            </a:pPr>
            <a:r>
              <a:rPr lang="en-US" b="1" dirty="0">
                <a:solidFill>
                  <a:schemeClr val="bg1"/>
                </a:solidFill>
              </a:rPr>
              <a:t>A unique round shape of the granules</a:t>
            </a:r>
          </a:p>
          <a:p>
            <a:pPr marL="742950" lvl="1" indent="-285750">
              <a:buFont typeface="Wingdings" panose="05000000000000000000" pitchFamily="2" charset="2"/>
              <a:buChar char="§"/>
              <a:tabLst>
                <a:tab pos="5651500" algn="l"/>
              </a:tabLst>
            </a:pPr>
            <a:r>
              <a:rPr lang="en-US" sz="1600" dirty="0">
                <a:solidFill>
                  <a:schemeClr val="bg1"/>
                </a:solidFill>
              </a:rPr>
              <a:t>Making it easy to apply in situ.</a:t>
            </a:r>
          </a:p>
          <a:p>
            <a:pPr marL="742950" lvl="1" indent="-285750">
              <a:buFont typeface="Wingdings" panose="05000000000000000000" pitchFamily="2" charset="2"/>
              <a:buChar char="§"/>
              <a:tabLst>
                <a:tab pos="5651500" algn="l"/>
              </a:tabLst>
            </a:pPr>
            <a:r>
              <a:rPr lang="en-US" sz="1600" dirty="0">
                <a:solidFill>
                  <a:schemeClr val="bg1"/>
                </a:solidFill>
              </a:rPr>
              <a:t>Avoiding stacking effect.</a:t>
            </a:r>
          </a:p>
          <a:p>
            <a:pPr>
              <a:tabLst>
                <a:tab pos="5651500" algn="l"/>
              </a:tabLst>
            </a:pPr>
            <a:endParaRPr lang="en-US" sz="1600" dirty="0">
              <a:solidFill>
                <a:schemeClr val="bg1"/>
              </a:solidFill>
            </a:endParaRPr>
          </a:p>
          <a:p>
            <a:pPr>
              <a:tabLst>
                <a:tab pos="5651500" algn="l"/>
              </a:tabLst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  <a:tabLst>
                <a:tab pos="5651500" algn="l"/>
              </a:tabLst>
            </a:pPr>
            <a:r>
              <a:rPr lang="en-US" b="1" dirty="0">
                <a:solidFill>
                  <a:schemeClr val="bg1"/>
                </a:solidFill>
              </a:rPr>
              <a:t>High hydrophilicity</a:t>
            </a:r>
          </a:p>
          <a:p>
            <a:pPr marL="742950" lvl="1" indent="-285750">
              <a:buFont typeface="Wingdings" panose="05000000000000000000" pitchFamily="2" charset="2"/>
              <a:buChar char="§"/>
              <a:tabLst>
                <a:tab pos="5651500" algn="l"/>
              </a:tabLst>
            </a:pPr>
            <a:r>
              <a:rPr lang="en-US" sz="1600" dirty="0">
                <a:solidFill>
                  <a:schemeClr val="bg1"/>
                </a:solidFill>
              </a:rPr>
              <a:t>Allowing an easy hydration.</a:t>
            </a:r>
          </a:p>
          <a:p>
            <a:pPr marL="742950" lvl="1" indent="-285750">
              <a:buFont typeface="Wingdings" panose="05000000000000000000" pitchFamily="2" charset="2"/>
              <a:buChar char="§"/>
              <a:tabLst>
                <a:tab pos="5651500" algn="l"/>
              </a:tabLst>
            </a:pPr>
            <a:r>
              <a:rPr lang="en-US" sz="1600" dirty="0">
                <a:solidFill>
                  <a:schemeClr val="bg1"/>
                </a:solidFill>
              </a:rPr>
              <a:t>Easy granule handling. </a:t>
            </a:r>
          </a:p>
          <a:p>
            <a:pPr>
              <a:tabLst>
                <a:tab pos="5651500" algn="l"/>
              </a:tabLst>
            </a:pPr>
            <a:endParaRPr lang="en-US" sz="1600" dirty="0">
              <a:solidFill>
                <a:schemeClr val="bg1"/>
              </a:solidFill>
            </a:endParaRPr>
          </a:p>
          <a:p>
            <a:pPr>
              <a:tabLst>
                <a:tab pos="5651500" algn="l"/>
              </a:tabLst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  <a:tabLst>
                <a:tab pos="5651500" algn="l"/>
              </a:tabLst>
            </a:pPr>
            <a:r>
              <a:rPr lang="en-US" b="1" dirty="0">
                <a:solidFill>
                  <a:schemeClr val="bg1"/>
                </a:solidFill>
              </a:rPr>
              <a:t>It is non-sintered</a:t>
            </a:r>
          </a:p>
          <a:p>
            <a:pPr marL="742950" lvl="1" indent="-285750">
              <a:buFont typeface="Wingdings" panose="05000000000000000000" pitchFamily="2" charset="2"/>
              <a:buChar char="§"/>
              <a:tabLst>
                <a:tab pos="5651500" algn="l"/>
              </a:tabLst>
            </a:pPr>
            <a:r>
              <a:rPr lang="en-US" sz="1600" dirty="0">
                <a:solidFill>
                  <a:schemeClr val="bg1"/>
                </a:solidFill>
              </a:rPr>
              <a:t>Micropores and </a:t>
            </a:r>
            <a:r>
              <a:rPr lang="en-US" sz="1600" dirty="0" err="1">
                <a:solidFill>
                  <a:schemeClr val="bg1"/>
                </a:solidFill>
              </a:rPr>
              <a:t>osteoconductivity</a:t>
            </a:r>
            <a:r>
              <a:rPr lang="en-US" sz="1600" dirty="0">
                <a:solidFill>
                  <a:schemeClr val="bg1"/>
                </a:solidFill>
              </a:rPr>
              <a:t> are not reduced.</a:t>
            </a:r>
          </a:p>
          <a:p>
            <a:pPr lvl="1">
              <a:tabLst>
                <a:tab pos="5651500" algn="l"/>
              </a:tabLst>
            </a:pPr>
            <a:endParaRPr lang="en-US" sz="1600" dirty="0">
              <a:solidFill>
                <a:schemeClr val="bg1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§"/>
              <a:tabLst>
                <a:tab pos="5651500" algn="l"/>
              </a:tabLst>
            </a:pPr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  <a:tabLst>
                <a:tab pos="5651500" algn="l"/>
              </a:tabLst>
            </a:pPr>
            <a:r>
              <a:rPr lang="en-US" sz="1600" b="1" dirty="0">
                <a:solidFill>
                  <a:schemeClr val="bg1"/>
                </a:solidFill>
              </a:rPr>
              <a:t>One of the largest Randomized Clinical Trials </a:t>
            </a:r>
            <a:r>
              <a:rPr lang="en-US" sz="1600" dirty="0">
                <a:solidFill>
                  <a:schemeClr val="bg1"/>
                </a:solidFill>
              </a:rPr>
              <a:t>performed in dental bone regeneration:</a:t>
            </a:r>
          </a:p>
          <a:p>
            <a:pPr marL="742950" lvl="1" indent="-285750">
              <a:buFont typeface="Wingdings" panose="05000000000000000000" pitchFamily="2" charset="2"/>
              <a:buChar char="§"/>
              <a:tabLst>
                <a:tab pos="5651500" algn="l"/>
              </a:tabLst>
            </a:pPr>
            <a:r>
              <a:rPr lang="en-US" sz="1600" dirty="0">
                <a:solidFill>
                  <a:schemeClr val="bg1"/>
                </a:solidFill>
              </a:rPr>
              <a:t>creos™ </a:t>
            </a:r>
            <a:r>
              <a:rPr lang="en-US" sz="1600" dirty="0" err="1">
                <a:solidFill>
                  <a:schemeClr val="bg1"/>
                </a:solidFill>
              </a:rPr>
              <a:t>syntogain</a:t>
            </a:r>
            <a:r>
              <a:rPr lang="en-US" sz="1600" dirty="0">
                <a:solidFill>
                  <a:schemeClr val="bg1"/>
                </a:solidFill>
              </a:rPr>
              <a:t> showed equivalence with reference product (Bio-Oss</a:t>
            </a:r>
            <a:r>
              <a:rPr lang="en-US" sz="1600" baseline="30000" dirty="0">
                <a:solidFill>
                  <a:schemeClr val="bg1"/>
                </a:solidFill>
              </a:rPr>
              <a:t>®</a:t>
            </a:r>
            <a:r>
              <a:rPr lang="en-US" sz="1600" dirty="0">
                <a:solidFill>
                  <a:schemeClr val="bg1"/>
                </a:solidFill>
              </a:rPr>
              <a:t>).</a:t>
            </a:r>
          </a:p>
          <a:p>
            <a:endParaRPr lang="de-CH" dirty="0">
              <a:solidFill>
                <a:schemeClr val="bg1"/>
              </a:solidFill>
            </a:endParaRPr>
          </a:p>
        </p:txBody>
      </p:sp>
      <p:pic>
        <p:nvPicPr>
          <p:cNvPr id="26" name="Grafik 14">
            <a:extLst>
              <a:ext uri="{FF2B5EF4-FFF2-40B4-BE49-F238E27FC236}">
                <a16:creationId xmlns:a16="http://schemas.microsoft.com/office/drawing/2014/main" id="{07A9C267-CC6D-4FC6-AF66-9D6B8A1CBF62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952" y="523641"/>
            <a:ext cx="1305452" cy="431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194801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7F7DD8-30A0-41E6-B3AB-C8078C6147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B31A2D5-E60C-4BB0-A0CC-A5FB2C716A40}" type="datetime1">
              <a:rPr lang="de-DE" noProof="0" smtClean="0"/>
              <a:t>12.05.2022</a:t>
            </a:fld>
            <a:endParaRPr lang="en-US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115D4F-1D1B-4171-9C54-7DEA3154DB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0097A98-7A23-44F6-B662-46B3197BB3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229" y="417965"/>
            <a:ext cx="5324475" cy="537695"/>
          </a:xfrm>
        </p:spPr>
        <p:txBody>
          <a:bodyPr/>
          <a:lstStyle/>
          <a:p>
            <a:r>
              <a:rPr lang="fr-CH" dirty="0"/>
              <a:t>The </a:t>
            </a:r>
            <a:r>
              <a:rPr lang="fr-CH" dirty="0" err="1"/>
              <a:t>product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829FAA-2E1D-4419-B2F5-5C6FE84416F6}"/>
              </a:ext>
            </a:extLst>
          </p:cNvPr>
          <p:cNvSpPr txBox="1"/>
          <p:nvPr/>
        </p:nvSpPr>
        <p:spPr>
          <a:xfrm>
            <a:off x="257430" y="1203467"/>
            <a:ext cx="6074242" cy="3621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Synthetic bone graft.</a:t>
            </a:r>
            <a:endParaRPr lang="en-US" sz="1600" dirty="0"/>
          </a:p>
          <a:p>
            <a:pPr marL="285750" indent="-285750"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Products already CE-marked</a:t>
            </a:r>
            <a:r>
              <a:rPr lang="en-US" sz="1600" dirty="0"/>
              <a:t>, no FDA clearance yet.</a:t>
            </a:r>
          </a:p>
          <a:p>
            <a:pPr marL="285750" indent="-285750"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Distributed product (original product named “MimetikOss”).</a:t>
            </a:r>
          </a:p>
          <a:p>
            <a:pPr marL="285750" indent="-285750"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Exclusive OEM business.</a:t>
            </a:r>
          </a:p>
          <a:p>
            <a:pPr marL="285750" indent="-285750"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Non-inferiority to Bio-Oss established through the clinical study.</a:t>
            </a:r>
          </a:p>
          <a:p>
            <a:pPr marL="285750" indent="-285750"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Reasons to buy: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Clinician preference.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Patient preference (religious reasons, non-animal-based product, vegan).</a:t>
            </a:r>
          </a:p>
          <a:p>
            <a:pPr>
              <a:spcAft>
                <a:spcPts val="800"/>
              </a:spcAft>
            </a:pPr>
            <a:endParaRPr lang="en-US" sz="160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DBAD001-F018-4B7E-A334-AE94BBE17A4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952" y="523335"/>
            <a:ext cx="1305452" cy="432325"/>
          </a:xfrm>
          <a:prstGeom prst="rect">
            <a:avLst/>
          </a:prstGeom>
        </p:spPr>
      </p:pic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3CD6217-1DC6-4740-AEE3-9F7B5B1233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4424647"/>
              </p:ext>
            </p:extLst>
          </p:nvPr>
        </p:nvGraphicFramePr>
        <p:xfrm>
          <a:off x="6905082" y="4503313"/>
          <a:ext cx="4674270" cy="1371600"/>
        </p:xfrm>
        <a:graphic>
          <a:graphicData uri="http://schemas.openxmlformats.org/drawingml/2006/table">
            <a:tbl>
              <a:tblPr/>
              <a:tblGrid>
                <a:gridCol w="902037">
                  <a:extLst>
                    <a:ext uri="{9D8B030D-6E8A-4147-A177-3AD203B41FA5}">
                      <a16:colId xmlns:a16="http://schemas.microsoft.com/office/drawing/2014/main" val="1914865132"/>
                    </a:ext>
                  </a:extLst>
                </a:gridCol>
                <a:gridCol w="837562">
                  <a:extLst>
                    <a:ext uri="{9D8B030D-6E8A-4147-A177-3AD203B41FA5}">
                      <a16:colId xmlns:a16="http://schemas.microsoft.com/office/drawing/2014/main" val="2068771361"/>
                    </a:ext>
                  </a:extLst>
                </a:gridCol>
                <a:gridCol w="2934671">
                  <a:extLst>
                    <a:ext uri="{9D8B030D-6E8A-4147-A177-3AD203B41FA5}">
                      <a16:colId xmlns:a16="http://schemas.microsoft.com/office/drawing/2014/main" val="143677504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de-CH" sz="1000" b="1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ticle</a:t>
                      </a:r>
                      <a:r>
                        <a:rPr lang="de-CH" sz="1000" b="1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° </a:t>
                      </a:r>
                      <a:r>
                        <a:rPr lang="de-CH" sz="1000" b="1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metis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ticle n° Nobel Biocare</a:t>
                      </a:r>
                      <a:r>
                        <a:rPr lang="en-US" sz="1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37618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M-S-0.5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111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os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ntogain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0.2-1.0mm 0.5cc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5928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M-M-0.5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111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os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ntogain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.0-2.0mm 0.5cc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53222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M-S-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112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os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ntogain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0.2-1.0mm 1cc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13385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M-M-1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112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os </a:t>
                      </a:r>
                      <a:r>
                        <a:rPr lang="en-US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ntogain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.0-2.0mm 1cc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18373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M-S-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113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os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ntogain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0.2-1.0mm 2cc via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08740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M-M-2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113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eos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ntogain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.0-2.0mm 2cc via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58413"/>
                  </a:ext>
                </a:extLst>
              </a:tr>
            </a:tbl>
          </a:graphicData>
        </a:graphic>
      </p:graphicFrame>
      <p:pic>
        <p:nvPicPr>
          <p:cNvPr id="10" name="Picture 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FAEE7F23-3DA5-426C-AD99-CD9732BCC84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7776" r="45499" b="6880"/>
          <a:stretch/>
        </p:blipFill>
        <p:spPr>
          <a:xfrm>
            <a:off x="8977009" y="1379759"/>
            <a:ext cx="3214991" cy="17480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FB49C80-76FC-4FC7-99EF-EAAB986C22F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5082" y="727695"/>
            <a:ext cx="2118757" cy="15644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67E42EF-395F-47D3-AAA7-BFF2727CFD9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466" t="22350" r="7224" b="13516"/>
          <a:stretch/>
        </p:blipFill>
        <p:spPr>
          <a:xfrm>
            <a:off x="6905081" y="2427258"/>
            <a:ext cx="2118757" cy="167369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BFBF4A9-388B-4F61-81A1-F11AD0FE869C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1671" y="6425468"/>
            <a:ext cx="4602879" cy="231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481874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F4D37ED-2D5F-4499-8981-901C8A0369E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CH" dirty="0"/>
              <a:t>Advanced </a:t>
            </a:r>
            <a:r>
              <a:rPr lang="fr-CH" dirty="0" err="1"/>
              <a:t>manufacturing</a:t>
            </a:r>
            <a:r>
              <a:rPr lang="fr-CH" dirty="0"/>
              <a:t> process</a:t>
            </a:r>
            <a:endParaRPr lang="de-CH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A24C6E-2041-415B-B69A-288A6359CE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73156457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4328AFE6-22B9-42CF-B4F8-B54358E8B1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4328AFE6-22B9-42CF-B4F8-B54358E8B1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435F8C77-E0AA-406F-BBBC-8DAE29E6587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624168E5-FD91-46BA-8ADC-ACC6018692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6" y="425304"/>
            <a:ext cx="7402934" cy="962955"/>
          </a:xfrm>
        </p:spPr>
        <p:txBody>
          <a:bodyPr/>
          <a:lstStyle/>
          <a:p>
            <a:r>
              <a:rPr lang="en-US" dirty="0"/>
              <a:t>Advanced manufacturing process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DE571C7-C48D-4819-A197-8A990262F83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3FA416-39FC-4B8E-A9DF-2756C77C4301}" type="datetime1">
              <a:rPr lang="de-DE" smtClean="0"/>
              <a:t>12.05.2022</a:t>
            </a:fld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DF47823-F7C6-4F45-BE2F-BBFE529E594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0" name="Segnaposto testo 10">
            <a:extLst>
              <a:ext uri="{FF2B5EF4-FFF2-40B4-BE49-F238E27FC236}">
                <a16:creationId xmlns:a16="http://schemas.microsoft.com/office/drawing/2014/main" id="{8B46EDCE-B50E-41E5-8562-42C35BAB8138}"/>
              </a:ext>
            </a:extLst>
          </p:cNvPr>
          <p:cNvSpPr txBox="1">
            <a:spLocks/>
          </p:cNvSpPr>
          <p:nvPr/>
        </p:nvSpPr>
        <p:spPr>
          <a:xfrm>
            <a:off x="8328024" y="1628775"/>
            <a:ext cx="3577371" cy="44849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4800" dirty="0">
                <a:solidFill>
                  <a:schemeClr val="bg1"/>
                </a:solidFill>
              </a:rPr>
              <a:t>Slide example </a:t>
            </a:r>
          </a:p>
          <a:p>
            <a:pPr>
              <a:spcBef>
                <a:spcPts val="0"/>
              </a:spcBef>
            </a:pPr>
            <a:r>
              <a:rPr lang="en-US" sz="3200" spc="0" dirty="0">
                <a:solidFill>
                  <a:prstClr val="white"/>
                </a:solidFill>
                <a:latin typeface="Arial" panose="020B0604020202020204"/>
                <a:cs typeface="+mn-cs"/>
              </a:rPr>
              <a:t>with table and takeaway message</a:t>
            </a:r>
          </a:p>
        </p:txBody>
      </p:sp>
      <p:graphicFrame>
        <p:nvGraphicFramePr>
          <p:cNvPr id="13" name="Inhaltsplatzhalter 11">
            <a:extLst>
              <a:ext uri="{FF2B5EF4-FFF2-40B4-BE49-F238E27FC236}">
                <a16:creationId xmlns:a16="http://schemas.microsoft.com/office/drawing/2014/main" id="{DBCDECDC-4FDC-48C5-84B4-FA9BABF1A2A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6544000"/>
              </p:ext>
            </p:extLst>
          </p:nvPr>
        </p:nvGraphicFramePr>
        <p:xfrm>
          <a:off x="733566" y="1628775"/>
          <a:ext cx="10724868" cy="386649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983791">
                  <a:extLst>
                    <a:ext uri="{9D8B030D-6E8A-4147-A177-3AD203B41FA5}">
                      <a16:colId xmlns:a16="http://schemas.microsoft.com/office/drawing/2014/main" val="3898312627"/>
                    </a:ext>
                  </a:extLst>
                </a:gridCol>
                <a:gridCol w="2473541">
                  <a:extLst>
                    <a:ext uri="{9D8B030D-6E8A-4147-A177-3AD203B41FA5}">
                      <a16:colId xmlns:a16="http://schemas.microsoft.com/office/drawing/2014/main" val="719617831"/>
                    </a:ext>
                  </a:extLst>
                </a:gridCol>
                <a:gridCol w="3105870">
                  <a:extLst>
                    <a:ext uri="{9D8B030D-6E8A-4147-A177-3AD203B41FA5}">
                      <a16:colId xmlns:a16="http://schemas.microsoft.com/office/drawing/2014/main" val="40448242"/>
                    </a:ext>
                  </a:extLst>
                </a:gridCol>
                <a:gridCol w="3161666">
                  <a:extLst>
                    <a:ext uri="{9D8B030D-6E8A-4147-A177-3AD203B41FA5}">
                      <a16:colId xmlns:a16="http://schemas.microsoft.com/office/drawing/2014/main" val="2932374670"/>
                    </a:ext>
                  </a:extLst>
                </a:gridCol>
              </a:tblGrid>
              <a:tr h="52945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dirty="0"/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/>
                        <a:t>Natural bone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dirty="0"/>
                        <a:t>Traditional </a:t>
                      </a:r>
                      <a:r>
                        <a:rPr lang="it-IT" sz="1400" b="0" dirty="0" err="1"/>
                        <a:t>calcium</a:t>
                      </a:r>
                      <a:r>
                        <a:rPr lang="it-IT" sz="1400" b="0" dirty="0"/>
                        <a:t> </a:t>
                      </a:r>
                      <a:r>
                        <a:rPr lang="it-IT" sz="1400" b="0" dirty="0" err="1"/>
                        <a:t>phosphate</a:t>
                      </a:r>
                      <a:endParaRPr lang="it-IT" sz="1400" b="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dirty="0"/>
                        <a:t>(HA / </a:t>
                      </a:r>
                      <a:r>
                        <a:rPr lang="el-GR" sz="1400" b="0" dirty="0"/>
                        <a:t> β</a:t>
                      </a:r>
                      <a:r>
                        <a:rPr lang="es-ES" sz="1400" b="0" dirty="0"/>
                        <a:t>-</a:t>
                      </a:r>
                      <a:r>
                        <a:rPr lang="it-IT" sz="1400" b="0" dirty="0"/>
                        <a:t>TCP)</a:t>
                      </a:r>
                      <a:endParaRPr lang="en-US" sz="1400" b="0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/>
                        <a:t>Biomimetic calcium phosphate</a:t>
                      </a:r>
                    </a:p>
                    <a:p>
                      <a:r>
                        <a:rPr lang="en-US" sz="1400" b="0" dirty="0"/>
                        <a:t>(CDHA / </a:t>
                      </a:r>
                      <a:r>
                        <a:rPr lang="el-GR" sz="1400" b="0" dirty="0"/>
                        <a:t> β</a:t>
                      </a:r>
                      <a:r>
                        <a:rPr lang="es-ES" sz="1400" b="0" dirty="0"/>
                        <a:t>-</a:t>
                      </a:r>
                      <a:r>
                        <a:rPr lang="en-US" sz="1400" b="0" dirty="0"/>
                        <a:t>TCP)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5211318"/>
                  </a:ext>
                </a:extLst>
              </a:tr>
              <a:tr h="8280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/>
                        <a:t>Composi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/>
                        <a:t>Calcium deficient hydroxyapatit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indent="-92075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Hydroxyapatite</a:t>
                      </a:r>
                    </a:p>
                    <a:p>
                      <a:pPr marL="92075" indent="-92075">
                        <a:buFont typeface="Arial" panose="020B0604020202020204" pitchFamily="34" charset="0"/>
                        <a:buChar char="•"/>
                      </a:pPr>
                      <a:r>
                        <a:rPr lang="el-GR" sz="1200" dirty="0"/>
                        <a:t>β-</a:t>
                      </a:r>
                      <a:r>
                        <a:rPr lang="en-US" sz="1200" dirty="0"/>
                        <a:t>TC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/>
                        <a:t>Calcium deficient hydroxyapatite</a:t>
                      </a:r>
                      <a:endParaRPr lang="es-ES" sz="1200" dirty="0"/>
                    </a:p>
                    <a:p>
                      <a:pPr marL="92075" indent="-92075">
                        <a:buFont typeface="Arial" panose="020B0604020202020204" pitchFamily="34" charset="0"/>
                        <a:buChar char="•"/>
                      </a:pPr>
                      <a:r>
                        <a:rPr lang="el-GR" sz="1200" dirty="0"/>
                        <a:t>β-</a:t>
                      </a:r>
                      <a:r>
                        <a:rPr lang="en-US" sz="1200" dirty="0"/>
                        <a:t>TC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9672496"/>
                  </a:ext>
                </a:extLst>
              </a:tr>
              <a:tr h="828029">
                <a:tc>
                  <a:txBody>
                    <a:bodyPr/>
                    <a:lstStyle/>
                    <a:p>
                      <a:pPr marL="0" lvl="1" algn="ctr"/>
                      <a:r>
                        <a:rPr lang="en-US" sz="1200" b="1" dirty="0"/>
                        <a:t>Elabor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lvl="1" indent="-9207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biomineralization = precipitation of nanocrystal of CDHA at body temperatur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lvl="1" indent="-9207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mix of powder sintered at high temperature ([800-1400ºC])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lvl="1" indent="-9207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low-temperature dissolution–precipitation reactions in aqueous system that mimic the biomineralization phenomena (&lt;150ºC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0447873"/>
                  </a:ext>
                </a:extLst>
              </a:tr>
              <a:tr h="1680977">
                <a:tc>
                  <a:txBody>
                    <a:bodyPr/>
                    <a:lstStyle/>
                    <a:p>
                      <a:pPr marL="0" lvl="1" algn="ctr"/>
                      <a:endParaRPr lang="en-US" sz="12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lvl="1" indent="-92075" algn="l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 algn="l">
                        <a:buFont typeface="Arial" panose="020B0604020202020204" pitchFamily="34" charset="0"/>
                        <a:buNone/>
                      </a:pP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lvl="1" indent="-92075" algn="l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913727"/>
                  </a:ext>
                </a:extLst>
              </a:tr>
            </a:tbl>
          </a:graphicData>
        </a:graphic>
      </p:graphicFrame>
      <p:sp>
        <p:nvSpPr>
          <p:cNvPr id="16" name="Rectángulo 15"/>
          <p:cNvSpPr/>
          <p:nvPr/>
        </p:nvSpPr>
        <p:spPr>
          <a:xfrm>
            <a:off x="169618" y="5866593"/>
            <a:ext cx="11735777" cy="338554"/>
          </a:xfrm>
          <a:prstGeom prst="rect">
            <a:avLst/>
          </a:prstGeom>
          <a:solidFill>
            <a:srgbClr val="007398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255588" indent="-163513" algn="ctr" defTabSz="457200" eaLnBrk="0" fontAlgn="base" hangingPunct="0">
              <a:spcBef>
                <a:spcPct val="20000"/>
              </a:spcBef>
              <a:spcAft>
                <a:spcPct val="0"/>
              </a:spcAft>
              <a:buSzPct val="100000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Manufacturing process mimics the physiological events naturally occurring in healthy bone.</a:t>
            </a:r>
          </a:p>
        </p:txBody>
      </p:sp>
      <p:pic>
        <p:nvPicPr>
          <p:cNvPr id="61442" name="Picture 2" descr="https://lh6.googleusercontent.com/j1_orMMfI3irA6Bz50jx8Ny1oP6aQBrCXL8Pl0R2_3nCeEZxtN2KtWvdmCqODXJJ_0m5yW0st7VG9408eALxdzUvr5kD43vPSzbNJlRuRYXEML5OknEhGFGSoahuQfcA-I5ZIW9Lcns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0878" y="3929239"/>
            <a:ext cx="2904399" cy="1203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upo 2"/>
          <p:cNvGrpSpPr/>
          <p:nvPr/>
        </p:nvGrpSpPr>
        <p:grpSpPr>
          <a:xfrm>
            <a:off x="5266337" y="3972127"/>
            <a:ext cx="2991934" cy="1340385"/>
            <a:chOff x="4691663" y="3723401"/>
            <a:chExt cx="2800351" cy="1254556"/>
          </a:xfrm>
        </p:grpSpPr>
        <p:pic>
          <p:nvPicPr>
            <p:cNvPr id="60418" name="Picture 2" descr="https://lh5.googleusercontent.com/kTUQ1BQnQ8IXLRp11QSA-uYXaewYuC-Q0ekutNYPdbQalKVQmKLe9omHNwdTuOzDI3CRQybEOYu7KJXRVqogXcVOmSK8LWy-jAxi_o_3bRm8cqoBvuoh_6XZkglWtzP941Acsra2vHI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91663" y="3723401"/>
              <a:ext cx="2800351" cy="1254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CuadroTexto 1"/>
            <p:cNvSpPr txBox="1"/>
            <p:nvPr/>
          </p:nvSpPr>
          <p:spPr>
            <a:xfrm>
              <a:off x="5756138" y="3871272"/>
              <a:ext cx="503138" cy="30909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none" lIns="0" tIns="0" rIns="0" bIns="0" rtlCol="0" anchor="t" anchorCtr="0">
              <a:normAutofit/>
            </a:bodyPr>
            <a:lstStyle/>
            <a:p>
              <a:pPr algn="ctr"/>
              <a:r>
                <a:rPr lang="es-ES" sz="1000" dirty="0">
                  <a:solidFill>
                    <a:schemeClr val="accent4"/>
                  </a:solidFill>
                </a:rPr>
                <a:t>High</a:t>
              </a:r>
            </a:p>
            <a:p>
              <a:pPr algn="ctr"/>
              <a:r>
                <a:rPr lang="es-ES" sz="1000" dirty="0">
                  <a:solidFill>
                    <a:schemeClr val="accent4"/>
                  </a:solidFill>
                </a:rPr>
                <a:t> temp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69950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accel="48000" fill="hold" grpId="0" nodeType="afterEffect" p14:presetBounceEnd="48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8000">
                                          <p:cBhvr additive="base">
                                            <p:cTn id="7" dur="1000" fill="hold"/>
                                            <p:tgtEl>
                                              <p:spTgt spid="10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8000">
                                          <p:cBhvr additive="base">
                                            <p:cTn id="8" dur="1000" fill="hold"/>
                                            <p:tgtEl>
                                              <p:spTgt spid="10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0" presetID="2" presetClass="entr" presetSubtype="2" accel="48000" fill="hold" grpId="0" nodeType="afterEffect" p14:presetBounceEnd="48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8000">
                                          <p:cBhvr additive="base">
                                            <p:cTn id="12" dur="1000" fill="hold"/>
                                            <p:tgtEl>
                                              <p:spTgt spid="10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8000">
                                          <p:cBhvr additive="base">
                                            <p:cTn id="13" dur="1000" fill="hold"/>
                                            <p:tgtEl>
                                              <p:spTgt spid="10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 uiExpand="1" build="p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accel="48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10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10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0" presetID="2" presetClass="entr" presetSubtype="2" accel="48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10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1000" fill="hold"/>
                                            <p:tgtEl>
                                              <p:spTgt spid="10">
                                                <p:txEl>
                                                  <p:pRg st="1" end="1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 uiExpand="1" build="p"/>
        </p:bldLst>
      </p:timing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Xhzox3RceBfXhdmnN4w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SQmRKFRnG2Eji.FAuPv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53f59jSSmFRYbNKwlgg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53f59jSSmFRYbNKwlgg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53f59jSSmFRYbNKwlg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f8LfbTL.yLDzUPrFM2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f8LfbTL.yLDzUPrFM2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vEXjVKSnGFE4.MFNryq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64T3gvTeiZ2sUtwAY0G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I7i2zBSLWYTB0oYdurY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53f59jSSmFRYbNKwlg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SNS0u2RSGRzrLEtqdZp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SNS0u2RSGRzrLEtqdZp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Y96wtkQhOjaQPmoc3D4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vEXjVKSnGFE4.MFNryq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SE_YKKQF2bRx.tLxUXt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PnkB89RgSbJHHjGqd3O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PnkB89RgSbJHHjGqd3O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PnkB89RgSbJHHjGqd3O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PnkB89RgSbJHHjGqd3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64T3gvTeiZ2sUtwAY0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I7i2zBSLWYTB0oYdur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vY6LIgRGqwv_lyGkQB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BaQn7BSzaESTl6794X9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vY6LIgRGqwv_lyGkQBp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qVxtGfT4ac1K8Ow0clT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Y96wtkQhOjaQPmoc3D4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I7i2zBSLWYTB0oYdur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RvjJHFRtOpb9fYtxyIy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RvjJHFRtOpb9fYtxyIy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rNZKYPQzGKf4WeFgP05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rNZKYPQzGKf4WeFgP05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rNZKYPQzGKf4WeFgP05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rNZKYPQzGKf4WeFgP05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rNZKYPQzGKf4WeFgP05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rNZKYPQzGKf4WeFgP05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rNZKYPQzGKf4WeFgP05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rNZKYPQzGKf4WeFgP05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qVxtGfT4ac1K8Ow0cl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Xhzox3RceBfXhdmnN4w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Y96wtkQhOjaQPmoc3D4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Xhzox3RceBfXhdmnN4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SQmRKFRnG2Eji.FAuPv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53f59jSSmFRYbNKwlgg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f8LfbTL.yLDzUPrFM2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vEXjVKSnGFE4.MFNryq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64T3gvTeiZ2sUtwAY0G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I7i2zBSLWYTB0oYdurY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RvjJHFRtOpb9fYtxyIy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Xhzox3RceBfXhdmnN4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SQmRKFRnG2Eji.FAuPv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SQmRKFRnG2Eji.FAuPv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53f59jSSmFRYbNKwlgg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53f59jSSmFRYbNKwlgg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53f59jSSmFRYbNKwlgg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f8LfbTL.yLDzUPrFM2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vEXjVKSnGFE4.MFNryq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64T3gvTeiZ2sUtwAY0G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I7i2zBSLWYTB0oYdurY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53f59jSSmFRYbNKwlg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SNS0u2RSGRzrLEtqdZp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53f59jSSmFRYbNKwlgg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SNS0u2RSGRzrLEtqdZp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Y96wtkQhOjaQPmoc3D4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vY6LIgRGqwv_lyGkQBp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SQmRKFRnG2Eji.FAuPv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RvjJHFRtOpb9fYtxyIyQ"/>
</p:tagLst>
</file>

<file path=ppt/theme/theme1.xml><?xml version="1.0" encoding="utf-8"?>
<a:theme xmlns:a="http://schemas.openxmlformats.org/drawingml/2006/main" name="NB 16:9 Template ">
  <a:themeElements>
    <a:clrScheme name="NB PPT Template 2019">
      <a:dk1>
        <a:sysClr val="windowText" lastClr="000000"/>
      </a:dk1>
      <a:lt1>
        <a:sysClr val="window" lastClr="FFFFFF"/>
      </a:lt1>
      <a:dk2>
        <a:srgbClr val="30302F"/>
      </a:dk2>
      <a:lt2>
        <a:srgbClr val="D0D0CE"/>
      </a:lt2>
      <a:accent1>
        <a:srgbClr val="CC0000"/>
      </a:accent1>
      <a:accent2>
        <a:srgbClr val="B1B3B3"/>
      </a:accent2>
      <a:accent3>
        <a:srgbClr val="888B8D"/>
      </a:accent3>
      <a:accent4>
        <a:srgbClr val="30302F"/>
      </a:accent4>
      <a:accent5>
        <a:srgbClr val="D1D3D4"/>
      </a:accent5>
      <a:accent6>
        <a:srgbClr val="8A8D8F"/>
      </a:accent6>
      <a:hlink>
        <a:srgbClr val="CC0000"/>
      </a:hlink>
      <a:folHlink>
        <a:srgbClr val="8A8D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MS 710">
      <a:srgbClr val="E03E52"/>
    </a:custClr>
    <a:custClr name="PMS 1625">
      <a:srgbClr val="FFA38B"/>
    </a:custClr>
    <a:custClr name="PMS 2005">
      <a:srgbClr val="FED880"/>
    </a:custClr>
    <a:custClr name="PMS 3375">
      <a:srgbClr val="7AE1BF"/>
    </a:custClr>
    <a:custClr name="PMS 7468">
      <a:srgbClr val="007398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</a:custClrLst>
</a:theme>
</file>

<file path=ppt/theme/theme2.xml><?xml version="1.0" encoding="utf-8"?>
<a:theme xmlns:a="http://schemas.openxmlformats.org/drawingml/2006/main" name="NB 16:9 Template - Titel and Chapter Slides">
  <a:themeElements>
    <a:clrScheme name="NB PPT Template 2019">
      <a:dk1>
        <a:sysClr val="windowText" lastClr="000000"/>
      </a:dk1>
      <a:lt1>
        <a:sysClr val="window" lastClr="FFFFFF"/>
      </a:lt1>
      <a:dk2>
        <a:srgbClr val="30302F"/>
      </a:dk2>
      <a:lt2>
        <a:srgbClr val="D0D0CE"/>
      </a:lt2>
      <a:accent1>
        <a:srgbClr val="CC0000"/>
      </a:accent1>
      <a:accent2>
        <a:srgbClr val="B1B3B3"/>
      </a:accent2>
      <a:accent3>
        <a:srgbClr val="888B8D"/>
      </a:accent3>
      <a:accent4>
        <a:srgbClr val="30302F"/>
      </a:accent4>
      <a:accent5>
        <a:srgbClr val="D1D3D4"/>
      </a:accent5>
      <a:accent6>
        <a:srgbClr val="8A8D8F"/>
      </a:accent6>
      <a:hlink>
        <a:srgbClr val="CC0000"/>
      </a:hlink>
      <a:folHlink>
        <a:srgbClr val="8A8D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MS 710">
      <a:srgbClr val="E03E52"/>
    </a:custClr>
    <a:custClr name="PMS 1625">
      <a:srgbClr val="FFA38B"/>
    </a:custClr>
    <a:custClr name="PMS 2005">
      <a:srgbClr val="FED880"/>
    </a:custClr>
    <a:custClr name="PMS 3375">
      <a:srgbClr val="7AE1BF"/>
    </a:custClr>
    <a:custClr name="PMS 7468">
      <a:srgbClr val="007398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</a:custClrLst>
</a:theme>
</file>

<file path=ppt/theme/theme3.xml><?xml version="1.0" encoding="utf-8"?>
<a:theme xmlns:a="http://schemas.openxmlformats.org/drawingml/2006/main" name="5_NB 16:9 Template ">
  <a:themeElements>
    <a:clrScheme name="NB PPT Template 2019">
      <a:dk1>
        <a:sysClr val="windowText" lastClr="000000"/>
      </a:dk1>
      <a:lt1>
        <a:sysClr val="window" lastClr="FFFFFF"/>
      </a:lt1>
      <a:dk2>
        <a:srgbClr val="30302F"/>
      </a:dk2>
      <a:lt2>
        <a:srgbClr val="D0D0CE"/>
      </a:lt2>
      <a:accent1>
        <a:srgbClr val="CC0000"/>
      </a:accent1>
      <a:accent2>
        <a:srgbClr val="B1B3B3"/>
      </a:accent2>
      <a:accent3>
        <a:srgbClr val="888B8D"/>
      </a:accent3>
      <a:accent4>
        <a:srgbClr val="30302F"/>
      </a:accent4>
      <a:accent5>
        <a:srgbClr val="D1D3D4"/>
      </a:accent5>
      <a:accent6>
        <a:srgbClr val="8A8D8F"/>
      </a:accent6>
      <a:hlink>
        <a:srgbClr val="CC0000"/>
      </a:hlink>
      <a:folHlink>
        <a:srgbClr val="8A8D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0" tIns="0" rIns="0" bIns="0" rtlCol="0" anchor="t" anchorCtr="0">
        <a:normAutofit/>
      </a:bodyPr>
      <a:lstStyle>
        <a:defPPr algn="l">
          <a:defRPr dirty="0" smtClean="0"/>
        </a:defPPr>
      </a:lstStyle>
    </a:txDef>
  </a:objectDefaults>
  <a:extraClrSchemeLst/>
  <a:custClrLst>
    <a:custClr name="PMS 710">
      <a:srgbClr val="E03E52"/>
    </a:custClr>
    <a:custClr name="PMS 1625">
      <a:srgbClr val="FFA38B"/>
    </a:custClr>
    <a:custClr name="PMS 2005">
      <a:srgbClr val="FED880"/>
    </a:custClr>
    <a:custClr name="PMS 3375">
      <a:srgbClr val="7AE1BF"/>
    </a:custClr>
    <a:custClr name="PMS 7468">
      <a:srgbClr val="007398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</a:custClrLst>
</a:theme>
</file>

<file path=ppt/theme/theme4.xml><?xml version="1.0" encoding="utf-8"?>
<a:theme xmlns:a="http://schemas.openxmlformats.org/drawingml/2006/main" name="1_NB 16:9 Template ">
  <a:themeElements>
    <a:clrScheme name="NB PPT Template 2019">
      <a:dk1>
        <a:sysClr val="windowText" lastClr="000000"/>
      </a:dk1>
      <a:lt1>
        <a:sysClr val="window" lastClr="FFFFFF"/>
      </a:lt1>
      <a:dk2>
        <a:srgbClr val="30302F"/>
      </a:dk2>
      <a:lt2>
        <a:srgbClr val="D0D0CE"/>
      </a:lt2>
      <a:accent1>
        <a:srgbClr val="CC0000"/>
      </a:accent1>
      <a:accent2>
        <a:srgbClr val="B1B3B3"/>
      </a:accent2>
      <a:accent3>
        <a:srgbClr val="888B8D"/>
      </a:accent3>
      <a:accent4>
        <a:srgbClr val="30302F"/>
      </a:accent4>
      <a:accent5>
        <a:srgbClr val="D1D3D4"/>
      </a:accent5>
      <a:accent6>
        <a:srgbClr val="8A8D8F"/>
      </a:accent6>
      <a:hlink>
        <a:srgbClr val="CC0000"/>
      </a:hlink>
      <a:folHlink>
        <a:srgbClr val="8A8D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MS 710">
      <a:srgbClr val="E03E52"/>
    </a:custClr>
    <a:custClr name="PMS 1625">
      <a:srgbClr val="FFA38B"/>
    </a:custClr>
    <a:custClr name="PMS 2005">
      <a:srgbClr val="FED880"/>
    </a:custClr>
    <a:custClr name="PMS 3375">
      <a:srgbClr val="7AE1BF"/>
    </a:custClr>
    <a:custClr name="PMS 7468">
      <a:srgbClr val="007398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</a:custClrLst>
</a:theme>
</file>

<file path=ppt/theme/theme5.xml><?xml version="1.0" encoding="utf-8"?>
<a:theme xmlns:a="http://schemas.openxmlformats.org/drawingml/2006/main" name="2_NB 16:9 Template ">
  <a:themeElements>
    <a:clrScheme name="NB PPT Template 2019">
      <a:dk1>
        <a:sysClr val="windowText" lastClr="000000"/>
      </a:dk1>
      <a:lt1>
        <a:sysClr val="window" lastClr="FFFFFF"/>
      </a:lt1>
      <a:dk2>
        <a:srgbClr val="30302F"/>
      </a:dk2>
      <a:lt2>
        <a:srgbClr val="D0D0CE"/>
      </a:lt2>
      <a:accent1>
        <a:srgbClr val="CC0000"/>
      </a:accent1>
      <a:accent2>
        <a:srgbClr val="B1B3B3"/>
      </a:accent2>
      <a:accent3>
        <a:srgbClr val="888B8D"/>
      </a:accent3>
      <a:accent4>
        <a:srgbClr val="30302F"/>
      </a:accent4>
      <a:accent5>
        <a:srgbClr val="D1D3D4"/>
      </a:accent5>
      <a:accent6>
        <a:srgbClr val="8A8D8F"/>
      </a:accent6>
      <a:hlink>
        <a:srgbClr val="CC0000"/>
      </a:hlink>
      <a:folHlink>
        <a:srgbClr val="8A8D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MS 710">
      <a:srgbClr val="E03E52"/>
    </a:custClr>
    <a:custClr name="PMS 1625">
      <a:srgbClr val="FFA38B"/>
    </a:custClr>
    <a:custClr name="PMS 2005">
      <a:srgbClr val="FED880"/>
    </a:custClr>
    <a:custClr name="PMS 3375">
      <a:srgbClr val="7AE1BF"/>
    </a:custClr>
    <a:custClr name="PMS 7468">
      <a:srgbClr val="007398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</a:custClrLst>
</a:theme>
</file>

<file path=ppt/theme/theme6.xml><?xml version="1.0" encoding="utf-8"?>
<a:theme xmlns:a="http://schemas.openxmlformats.org/drawingml/2006/main" name="Office">
  <a:themeElements>
    <a:clrScheme name="NBS 2019">
      <a:dk1>
        <a:sysClr val="windowText" lastClr="000000"/>
      </a:dk1>
      <a:lt1>
        <a:sysClr val="window" lastClr="FFFFFF"/>
      </a:lt1>
      <a:dk2>
        <a:srgbClr val="30302F"/>
      </a:dk2>
      <a:lt2>
        <a:srgbClr val="D1D3D4"/>
      </a:lt2>
      <a:accent1>
        <a:srgbClr val="CC0000"/>
      </a:accent1>
      <a:accent2>
        <a:srgbClr val="B1B3B3"/>
      </a:accent2>
      <a:accent3>
        <a:srgbClr val="A5A5A5"/>
      </a:accent3>
      <a:accent4>
        <a:srgbClr val="D1D3D4"/>
      </a:accent4>
      <a:accent5>
        <a:srgbClr val="30302F"/>
      </a:accent5>
      <a:accent6>
        <a:srgbClr val="CC0000"/>
      </a:accent6>
      <a:hlink>
        <a:srgbClr val="CC0000"/>
      </a:hlink>
      <a:folHlink>
        <a:srgbClr val="3F3F3F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MS 2198">
      <a:srgbClr val="4AC9E3"/>
    </a:custClr>
    <a:custClr name="PMS 3375">
      <a:srgbClr val="7AE1BF"/>
    </a:custClr>
    <a:custClr name="PMS 2005">
      <a:srgbClr val="FED880"/>
    </a:custClr>
    <a:custClr name="PMS 170">
      <a:srgbClr val="FF8674"/>
    </a:custClr>
    <a:custClr name="PMS 1785">
      <a:srgbClr val="F8485E"/>
    </a:custClr>
    <a:custClr name="PMS 255">
      <a:srgbClr val="72246C"/>
    </a:custClr>
    <a:custClr name="PMS 2617">
      <a:srgbClr val="470A68"/>
    </a:custClr>
    <a:custClr name="PMS 2747">
      <a:srgbClr val="001A72"/>
    </a:custClr>
    <a:custClr name="PMS 0">
      <a:srgbClr val="FFFFFF"/>
    </a:custClr>
    <a:custClr name="PMS 0">
      <a:srgbClr val="FFFFFF"/>
    </a:custClr>
    <a:custClr name="PMS 318">
      <a:srgbClr val="88DBDF"/>
    </a:custClr>
    <a:custClr name="PMS 573">
      <a:srgbClr val="B5E3D8"/>
    </a:custClr>
    <a:custClr name="PMS 7401">
      <a:srgbClr val="F5E1A4"/>
    </a:custClr>
    <a:custClr name="PMS 1625">
      <a:srgbClr val="FFA38B"/>
    </a:custClr>
    <a:custClr name="PMS 3572">
      <a:srgbClr val="FE9B96"/>
    </a:custClr>
    <a:custClr name="PMS 2064">
      <a:srgbClr val="E0A2D4"/>
    </a:custClr>
    <a:custClr name="PMS 270">
      <a:srgbClr val="B4B5DF"/>
    </a:custClr>
    <a:custClr name="PMS 658">
      <a:srgbClr val="B1C9E8"/>
    </a:custClr>
    <a:custClr name="PMS 0">
      <a:srgbClr val="FFFFFF"/>
    </a:custClr>
    <a:custClr name="PMS 0">
      <a:srgbClr val="FFFFFF"/>
    </a:custClr>
  </a:custClrLst>
</a:theme>
</file>

<file path=ppt/theme/theme7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da494fb-2ed1-4e56-894d-a1398801597e">
      <UserInfo>
        <DisplayName>Lienemann, Philipp</DisplayName>
        <AccountId>17</AccountId>
        <AccountType/>
      </UserInfo>
    </SharedWithUsers>
    <lcf76f155ced4ddcb4097134ff3c332f xmlns="f1d94344-fb95-470f-beee-aa035911441a">
      <Terms xmlns="http://schemas.microsoft.com/office/infopath/2007/PartnerControls"/>
    </lcf76f155ced4ddcb4097134ff3c332f>
    <TaxCatchAll xmlns="cda494fb-2ed1-4e56-894d-a1398801597e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DBD5BD3B6D39E4C99FB6CB52AC3D59A" ma:contentTypeVersion="16" ma:contentTypeDescription="Create a new document." ma:contentTypeScope="" ma:versionID="a0d423d56073455df6b3b50d03414d0c">
  <xsd:schema xmlns:xsd="http://www.w3.org/2001/XMLSchema" xmlns:xs="http://www.w3.org/2001/XMLSchema" xmlns:p="http://schemas.microsoft.com/office/2006/metadata/properties" xmlns:ns2="f1d94344-fb95-470f-beee-aa035911441a" xmlns:ns3="cda494fb-2ed1-4e56-894d-a1398801597e" targetNamespace="http://schemas.microsoft.com/office/2006/metadata/properties" ma:root="true" ma:fieldsID="41aa04c95c05fd3acf8a615f5e95763f" ns2:_="" ns3:_="">
    <xsd:import namespace="f1d94344-fb95-470f-beee-aa035911441a"/>
    <xsd:import namespace="cda494fb-2ed1-4e56-894d-a139880159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d94344-fb95-470f-beee-aa03591144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51d47f98-939b-4431-b793-419ec2aa7aa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a494fb-2ed1-4e56-894d-a1398801597e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be5a3aa9-e4d4-4533-a6e7-bfc8c10200fc}" ma:internalName="TaxCatchAll" ma:showField="CatchAllData" ma:web="cda494fb-2ed1-4e56-894d-a1398801597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D4DA34-3B20-470C-B797-C6E58E48725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4FDA9EA-49F6-4A91-999A-0111C098AE84}">
  <ds:schemaRefs>
    <ds:schemaRef ds:uri="http://schemas.microsoft.com/office/2006/metadata/properties"/>
    <ds:schemaRef ds:uri="http://schemas.microsoft.com/office/2006/documentManagement/types"/>
    <ds:schemaRef ds:uri="http://purl.org/dc/terms/"/>
    <ds:schemaRef ds:uri="f1d94344-fb95-470f-beee-aa035911441a"/>
    <ds:schemaRef ds:uri="http://purl.org/dc/dcmitype/"/>
    <ds:schemaRef ds:uri="http://schemas.microsoft.com/office/infopath/2007/PartnerControls"/>
    <ds:schemaRef ds:uri="cda494fb-2ed1-4e56-894d-a1398801597e"/>
    <ds:schemaRef ds:uri="http://purl.org/dc/elements/1.1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E3B7914-E105-4165-B236-49C901719D88}"/>
</file>

<file path=docProps/app.xml><?xml version="1.0" encoding="utf-8"?>
<Properties xmlns="http://schemas.openxmlformats.org/officeDocument/2006/extended-properties" xmlns:vt="http://schemas.openxmlformats.org/officeDocument/2006/docPropsVTypes">
  <Template>NBS_PowerPoint_Template_16-9_18102_2</Template>
  <TotalTime>0</TotalTime>
  <Words>2391</Words>
  <Application>Microsoft Office PowerPoint</Application>
  <PresentationFormat>Widescreen</PresentationFormat>
  <Paragraphs>416</Paragraphs>
  <Slides>24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4</vt:i4>
      </vt:variant>
    </vt:vector>
  </HeadingPairs>
  <TitlesOfParts>
    <vt:vector size="41" baseType="lpstr">
      <vt:lpstr>Arial</vt:lpstr>
      <vt:lpstr>Calibri</vt:lpstr>
      <vt:lpstr>Cambria</vt:lpstr>
      <vt:lpstr>LinotypeUnivers-340ExLight</vt:lpstr>
      <vt:lpstr>Mark Pro Medium</vt:lpstr>
      <vt:lpstr>OpenSans-Italic</vt:lpstr>
      <vt:lpstr>Roboto</vt:lpstr>
      <vt:lpstr>Roboto Black</vt:lpstr>
      <vt:lpstr>Symbol</vt:lpstr>
      <vt:lpstr>Wingdings</vt:lpstr>
      <vt:lpstr>NB 16:9 Template </vt:lpstr>
      <vt:lpstr>NB 16:9 Template - Titel and Chapter Slides</vt:lpstr>
      <vt:lpstr>5_NB 16:9 Template </vt:lpstr>
      <vt:lpstr>1_NB 16:9 Template </vt:lpstr>
      <vt:lpstr>2_NB 16:9 Template </vt:lpstr>
      <vt:lpstr>think-cell Slide</vt:lpstr>
      <vt:lpstr>think-cell Folie</vt:lpstr>
      <vt:lpstr>creos syntogain</vt:lpstr>
      <vt:lpstr>PowerPoint Presentation</vt:lpstr>
      <vt:lpstr>Four things than clinicians expect from regenerative products</vt:lpstr>
      <vt:lpstr>PowerPoint Presentation</vt:lpstr>
      <vt:lpstr>PowerPoint Presentation</vt:lpstr>
      <vt:lpstr>PowerPoint Presentation</vt:lpstr>
      <vt:lpstr>The product</vt:lpstr>
      <vt:lpstr>Advanced manufacturing process</vt:lpstr>
      <vt:lpstr>Advanced manufacturing process</vt:lpstr>
      <vt:lpstr>Technology base – Synthetic bone graft generalities</vt:lpstr>
      <vt:lpstr>Product featur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andomized Clinical Trial - Introduction</vt:lpstr>
      <vt:lpstr>Randomized Clinical Trial - Results</vt:lpstr>
      <vt:lpstr>Randomized Clinical Trial - Results</vt:lpstr>
      <vt:lpstr>Clinical indication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Nadja Schäffer</dc:creator>
  <cp:lastModifiedBy>Tromenschlager, Julien</cp:lastModifiedBy>
  <cp:revision>476</cp:revision>
  <cp:lastPrinted>2022-05-03T08:57:36Z</cp:lastPrinted>
  <dcterms:created xsi:type="dcterms:W3CDTF">2018-10-26T08:26:03Z</dcterms:created>
  <dcterms:modified xsi:type="dcterms:W3CDTF">2022-05-12T14:53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DBD5BD3B6D39E4C99FB6CB52AC3D59A</vt:lpwstr>
  </property>
</Properties>
</file>